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media/image5.bin" ContentType="image/png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1"/>
    <p:sldMasterId id="2147483753" r:id="rId2"/>
    <p:sldMasterId id="2147483793" r:id="rId3"/>
  </p:sldMasterIdLst>
  <p:notesMasterIdLst>
    <p:notesMasterId r:id="rId17"/>
  </p:notesMasterIdLst>
  <p:sldIdLst>
    <p:sldId id="256" r:id="rId4"/>
    <p:sldId id="591" r:id="rId5"/>
    <p:sldId id="717" r:id="rId6"/>
    <p:sldId id="755" r:id="rId7"/>
    <p:sldId id="751" r:id="rId8"/>
    <p:sldId id="750" r:id="rId9"/>
    <p:sldId id="753" r:id="rId10"/>
    <p:sldId id="756" r:id="rId11"/>
    <p:sldId id="748" r:id="rId12"/>
    <p:sldId id="757" r:id="rId13"/>
    <p:sldId id="749" r:id="rId14"/>
    <p:sldId id="758" r:id="rId15"/>
    <p:sldId id="601" r:id="rId16"/>
  </p:sldIdLst>
  <p:sldSz cx="9144000" cy="5143500" type="screen16x9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oftware" id="{37062A69-4675-4B8A-8868-D791083735CE}">
          <p14:sldIdLst>
            <p14:sldId id="256"/>
            <p14:sldId id="591"/>
            <p14:sldId id="717"/>
            <p14:sldId id="755"/>
            <p14:sldId id="751"/>
            <p14:sldId id="750"/>
            <p14:sldId id="753"/>
            <p14:sldId id="756"/>
            <p14:sldId id="748"/>
            <p14:sldId id="757"/>
            <p14:sldId id="749"/>
            <p14:sldId id="758"/>
            <p14:sldId id="601"/>
          </p14:sldIdLst>
        </p14:section>
        <p14:section name="THE END" id="{24C9F81F-0FF7-4B2C-BAAF-EFE6BA894DE0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Krempels" initials="DK" lastIdx="1" clrIdx="0">
    <p:extLst>
      <p:ext uri="{19B8F6BF-5375-455C-9EA6-DF929625EA0E}">
        <p15:presenceInfo xmlns:p15="http://schemas.microsoft.com/office/powerpoint/2012/main" userId="Daniel Krempels" providerId="None"/>
      </p:ext>
    </p:extLst>
  </p:cmAuthor>
  <p:cmAuthor id="2" name="Christiane Stammler" initials="CS" lastIdx="11" clrIdx="1">
    <p:extLst>
      <p:ext uri="{19B8F6BF-5375-455C-9EA6-DF929625EA0E}">
        <p15:presenceInfo xmlns:p15="http://schemas.microsoft.com/office/powerpoint/2012/main" userId="Christiane Stammler" providerId="None"/>
      </p:ext>
    </p:extLst>
  </p:cmAuthor>
  <p:cmAuthor id="3" name="Lukas Moser" initials="LM" lastIdx="1" clrIdx="2">
    <p:extLst>
      <p:ext uri="{19B8F6BF-5375-455C-9EA6-DF929625EA0E}">
        <p15:presenceInfo xmlns:p15="http://schemas.microsoft.com/office/powerpoint/2012/main" userId="Lukas Mo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652"/>
    <a:srgbClr val="7CBF33"/>
    <a:srgbClr val="FF9900"/>
    <a:srgbClr val="F9BE04"/>
    <a:srgbClr val="E2AD04"/>
    <a:srgbClr val="006D7E"/>
    <a:srgbClr val="3CB7AA"/>
    <a:srgbClr val="002A4C"/>
    <a:srgbClr val="00C4B6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88" autoAdjust="0"/>
    <p:restoredTop sz="92247" autoAdjust="0"/>
  </p:normalViewPr>
  <p:slideViewPr>
    <p:cSldViewPr snapToGrid="0" snapToObjects="1">
      <p:cViewPr varScale="1">
        <p:scale>
          <a:sx n="149" d="100"/>
          <a:sy n="149" d="100"/>
        </p:scale>
        <p:origin x="614" y="1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2" d="100"/>
        <a:sy n="102" d="100"/>
      </p:scale>
      <p:origin x="0" y="-66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D27FAF-E0E5-2E48-87CD-B3F2462B3677}" type="datetimeFigureOut">
              <a:rPr lang="de-DE" smtClean="0"/>
              <a:t>02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E61436-D104-8140-97F7-7BCC11BD3F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8635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873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BAD415-263D-F736-E9B7-840C5FB6D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B000F55-7F76-A768-3EE1-94D122D38A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094235E-E7E8-99A0-D06F-EC09C3B11C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2EAD0E-F483-6A4B-F789-0D3D4D550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4006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93B47-8915-65D6-5024-8CC15E4AB3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6243C6E-A97D-09BF-2454-531ED08785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070926D-C5E8-F9A2-4145-389A113D0A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2494B2-BE95-02DB-D1E3-FE5D431248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64350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5DA0D-FD76-D2CB-4740-5D5444CF3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304DAFD-ACCA-6C75-27A2-0BADCA65CB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50892E0-7D8E-49D2-61BF-F7F5738BCC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B658FC-A24E-C6EC-CA1C-5617C726BE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0034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4795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26535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5457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016D7-70A3-4EE6-40EF-BF510C1B4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33C9EE5-BF65-782D-F1C8-568F0306AB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0795049-6D75-0553-F5DA-1D96EB3BCD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AD0616-E016-3D18-3DB4-3F1E86BDA7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1925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C774CF-0850-0EFD-E8CA-FBD4FB44A6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75772C-C52F-F797-7D77-CCB2ACE7D0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0970A91-D6FC-957B-EB8E-BCBE27A2C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D31AB4-648B-B3A8-EA1C-68ACE357A6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7811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BA41C-EA09-3B97-5C2D-98EDF6CAA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849B969-7886-542F-F643-5099688A60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F06F75A-3491-8C23-3661-021003C601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1DAA40-402B-96EB-0521-298D1423AF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65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DA63FD-8A78-7E4C-A1D7-7D564D326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120E589-3E8C-44FE-9F48-A4B0D93B89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70B96F4-1599-452F-97E4-B228CDB01E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A2AD07-84E2-6C0C-F842-D61B3FD74A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0382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54F04-B30E-C924-4676-7832006D3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E8F55A5-7C71-72B2-C2FF-58D3F8D3C6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B004BE7-EC7B-696F-1437-1176EF7504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1F7A6F-EB33-E3F0-1FE7-FFB474D250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0184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215BD-A4C0-5157-1335-DA66FAF12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2A775EC-E4F5-340C-D267-141EC14C78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6ED3B59-7612-741F-3C74-F70FCB946F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F9BC7A-9CDF-0F82-CCB5-C8CB32694C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1189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3.jp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6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8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7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8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9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0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684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EA5BE6AB-90B8-4F4F-BF10-AC914D66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910" y="2507110"/>
            <a:ext cx="5281810" cy="886397"/>
          </a:xfr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10" y="1270229"/>
            <a:ext cx="3454470" cy="2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591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AA59B50-7E2C-446F-AFA9-BB5AB3AC1151}"/>
              </a:ext>
            </a:extLst>
          </p:cNvPr>
          <p:cNvSpPr/>
          <p:nvPr userDrawn="1"/>
        </p:nvSpPr>
        <p:spPr>
          <a:xfrm>
            <a:off x="-1" y="1039450"/>
            <a:ext cx="9144000" cy="41040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hteck 8">
            <a:extLst>
              <a:ext uri="{FF2B5EF4-FFF2-40B4-BE49-F238E27FC236}">
                <a16:creationId xmlns:a16="http://schemas.microsoft.com/office/drawing/2014/main" id="{ACCB2698-4994-4F6B-8524-B494FD93FBF3}"/>
              </a:ext>
            </a:extLst>
          </p:cNvPr>
          <p:cNvSpPr/>
          <p:nvPr userDrawn="1"/>
        </p:nvSpPr>
        <p:spPr>
          <a:xfrm>
            <a:off x="0" y="-4234"/>
            <a:ext cx="9144000" cy="1102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070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7899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09" y="3844685"/>
            <a:ext cx="2665601" cy="1836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95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</p:spTree>
    <p:extLst>
      <p:ext uri="{BB962C8B-B14F-4D97-AF65-F5344CB8AC3E}">
        <p14:creationId xmlns:p14="http://schemas.microsoft.com/office/powerpoint/2010/main" val="3064418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987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3B04FE24-9287-4621-BB73-9C10195D3F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1109" y="1415185"/>
            <a:ext cx="8069839" cy="3455989"/>
          </a:xfrm>
        </p:spPr>
        <p:txBody>
          <a:bodyPr/>
          <a:lstStyle>
            <a:lvl1pPr marL="0" indent="0" defTabSz="360363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4pPr>
            <a:lvl5pPr marL="715962" indent="0"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3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3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95287" y="1311275"/>
            <a:ext cx="8353425" cy="3455988"/>
          </a:xfrm>
          <a:prstGeom prst="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</p:spTree>
    <p:extLst>
      <p:ext uri="{BB962C8B-B14F-4D97-AF65-F5344CB8AC3E}">
        <p14:creationId xmlns:p14="http://schemas.microsoft.com/office/powerpoint/2010/main" val="1850739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 &amp; Cons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58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3B04FE24-9287-4621-BB73-9C10195D3F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1109" y="1415185"/>
            <a:ext cx="8069839" cy="3455989"/>
          </a:xfrm>
        </p:spPr>
        <p:txBody>
          <a:bodyPr/>
          <a:lstStyle>
            <a:lvl1pPr marL="360363" indent="0" defTabSz="360363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4pPr>
            <a:lvl5pPr marL="715962" indent="0"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3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3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95287" y="1311275"/>
            <a:ext cx="8353425" cy="3455988"/>
          </a:xfrm>
          <a:prstGeom prst="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F7B60-7096-4BBC-84CD-DB4029F35D29}"/>
              </a:ext>
            </a:extLst>
          </p:cNvPr>
          <p:cNvSpPr/>
          <p:nvPr userDrawn="1"/>
        </p:nvSpPr>
        <p:spPr>
          <a:xfrm>
            <a:off x="579080" y="1488537"/>
            <a:ext cx="199586" cy="199586"/>
          </a:xfrm>
          <a:prstGeom prst="ellipse">
            <a:avLst/>
          </a:prstGeom>
          <a:noFill/>
          <a:ln w="1905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3A42E8-34D5-4065-B040-5AD680C879EE}"/>
              </a:ext>
            </a:extLst>
          </p:cNvPr>
          <p:cNvSpPr txBox="1"/>
          <p:nvPr userDrawn="1"/>
        </p:nvSpPr>
        <p:spPr>
          <a:xfrm>
            <a:off x="591366" y="1396637"/>
            <a:ext cx="26025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2400" dirty="0">
                <a:solidFill>
                  <a:srgbClr val="006D7E"/>
                </a:solidFill>
              </a:rPr>
              <a:t>+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1E74A26-B699-4202-A925-F966052104CF}"/>
              </a:ext>
            </a:extLst>
          </p:cNvPr>
          <p:cNvSpPr/>
          <p:nvPr userDrawn="1"/>
        </p:nvSpPr>
        <p:spPr>
          <a:xfrm>
            <a:off x="591366" y="3093644"/>
            <a:ext cx="199586" cy="199586"/>
          </a:xfrm>
          <a:prstGeom prst="ellipse">
            <a:avLst/>
          </a:prstGeom>
          <a:noFill/>
          <a:ln w="1905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3CA33-45F6-434C-AF6E-1325182E3F27}"/>
              </a:ext>
            </a:extLst>
          </p:cNvPr>
          <p:cNvSpPr txBox="1"/>
          <p:nvPr userDrawn="1"/>
        </p:nvSpPr>
        <p:spPr>
          <a:xfrm>
            <a:off x="641273" y="2967589"/>
            <a:ext cx="26025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2400" dirty="0">
                <a:solidFill>
                  <a:srgbClr val="006D7E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4450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&amp;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88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0"/>
            <a:ext cx="4572000" cy="5148618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3436937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400" b="1" dirty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3436937" cy="1643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00E8D-5DA6-4965-91CB-5764E72DD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6" y="2255308"/>
            <a:ext cx="3436937" cy="234791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256528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&amp;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120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2206"/>
            <a:ext cx="4572000" cy="514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539" y="310905"/>
            <a:ext cx="369817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0539" y="670582"/>
            <a:ext cx="3698174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0539" y="1230406"/>
            <a:ext cx="3698174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sz="100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&amp; 1/2 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2574965"/>
            <a:ext cx="4572000" cy="25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-15186"/>
            <a:ext cx="4572000" cy="514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539" y="310905"/>
            <a:ext cx="369817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0539" y="670582"/>
            <a:ext cx="3698174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2"/>
            <a:ext cx="4572000" cy="25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0539" y="1230406"/>
            <a:ext cx="3698174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sz="100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482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&amp;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310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34166" y="310905"/>
            <a:ext cx="5414546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34166" y="670582"/>
            <a:ext cx="5414546" cy="1938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4500"/>
            <a:ext cx="3133216" cy="514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166" y="1230406"/>
            <a:ext cx="5414546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</p:spTree>
    <p:extLst>
      <p:ext uri="{BB962C8B-B14F-4D97-AF65-F5344CB8AC3E}">
        <p14:creationId xmlns:p14="http://schemas.microsoft.com/office/powerpoint/2010/main" val="2582942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543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24038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60038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4824038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070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5419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6614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75217CA-3193-497B-83C4-00A70535D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71782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Rechteck 18">
            <a:extLst>
              <a:ext uri="{FF2B5EF4-FFF2-40B4-BE49-F238E27FC236}">
                <a16:creationId xmlns:a16="http://schemas.microsoft.com/office/drawing/2014/main" id="{39CDE031-4AB2-44B8-B4A4-BD51612EF7C5}"/>
              </a:ext>
            </a:extLst>
          </p:cNvPr>
          <p:cNvSpPr/>
          <p:nvPr userDrawn="1"/>
        </p:nvSpPr>
        <p:spPr>
          <a:xfrm>
            <a:off x="3271782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021A582-89D7-4731-A2E5-C34EAF655F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07782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Rechteck 18">
            <a:extLst>
              <a:ext uri="{FF2B5EF4-FFF2-40B4-BE49-F238E27FC236}">
                <a16:creationId xmlns:a16="http://schemas.microsoft.com/office/drawing/2014/main" id="{4B39B28E-B394-4CF8-9161-185288B8EC45}"/>
              </a:ext>
            </a:extLst>
          </p:cNvPr>
          <p:cNvSpPr/>
          <p:nvPr userDrawn="1"/>
        </p:nvSpPr>
        <p:spPr>
          <a:xfrm>
            <a:off x="6146614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ED6756BE-C160-4425-BC65-3744E80DAC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82614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053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tx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3701" y="2978727"/>
            <a:ext cx="2603762" cy="1788536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F259859F-8AEF-4265-8D5E-47B7767AFA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1656" y="1428931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9D7C82-A700-433D-8709-C9DA3A9B5AFB}"/>
              </a:ext>
            </a:extLst>
          </p:cNvPr>
          <p:cNvSpPr/>
          <p:nvPr userDrawn="1"/>
        </p:nvSpPr>
        <p:spPr>
          <a:xfrm>
            <a:off x="391654" y="1647568"/>
            <a:ext cx="45719" cy="3119696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428931"/>
            <a:ext cx="2600511" cy="22974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A413FA67-35DA-4E47-AD5D-17A9AA8B2B9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2036" y="3269672"/>
            <a:ext cx="2535427" cy="1497589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CD2F150B-7150-4BFA-9C69-A10A62C7A32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280332" y="1428931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9E4FBB-90F8-4014-92C8-604774908637}"/>
              </a:ext>
            </a:extLst>
          </p:cNvPr>
          <p:cNvSpPr/>
          <p:nvPr userDrawn="1"/>
        </p:nvSpPr>
        <p:spPr>
          <a:xfrm>
            <a:off x="3280330" y="1647568"/>
            <a:ext cx="45719" cy="3119696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5CE05E98-1589-483B-8A69-2DA1E5A14F3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350712" y="3269672"/>
            <a:ext cx="2535427" cy="149759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DE9DD8AC-935E-4884-8B74-C0B154E6654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146541" y="1430844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FE78DD8-24AD-4AC0-BD72-9650AB1D1D4C}"/>
              </a:ext>
            </a:extLst>
          </p:cNvPr>
          <p:cNvSpPr/>
          <p:nvPr userDrawn="1"/>
        </p:nvSpPr>
        <p:spPr>
          <a:xfrm>
            <a:off x="6146539" y="1649481"/>
            <a:ext cx="45719" cy="3119696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4EDD25CA-0910-45F9-8244-527D4758E1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51836" y="1430844"/>
            <a:ext cx="2600511" cy="22974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A9EE1DD8-DDD9-4129-AF92-279E00918D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16921" y="3269671"/>
            <a:ext cx="2535427" cy="1499503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EAC29032-3B7F-4AB9-A1AC-99696E99F8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2037" y="3009330"/>
            <a:ext cx="2535428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11">
            <a:extLst>
              <a:ext uri="{FF2B5EF4-FFF2-40B4-BE49-F238E27FC236}">
                <a16:creationId xmlns:a16="http://schemas.microsoft.com/office/drawing/2014/main" id="{06C2EB70-7B35-44B5-9799-2D1D1B874C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50713" y="3009330"/>
            <a:ext cx="2535426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006D7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2" name="Textplatzhalter 11">
            <a:extLst>
              <a:ext uri="{FF2B5EF4-FFF2-40B4-BE49-F238E27FC236}">
                <a16:creationId xmlns:a16="http://schemas.microsoft.com/office/drawing/2014/main" id="{4C63931C-3F9A-45F7-AAAA-B6F8C8F576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16922" y="3009330"/>
            <a:ext cx="2535428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8621A256-B9FF-4CB6-9D4E-4716C772861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285627" y="1428931"/>
            <a:ext cx="2600511" cy="229740"/>
          </a:xfrm>
          <a:prstGeom prst="rect">
            <a:avLst/>
          </a:prstGeom>
          <a:solidFill>
            <a:srgbClr val="006D7E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</p:spTree>
    <p:extLst>
      <p:ext uri="{BB962C8B-B14F-4D97-AF65-F5344CB8AC3E}">
        <p14:creationId xmlns:p14="http://schemas.microsoft.com/office/powerpoint/2010/main" val="3294344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748" b="10390"/>
          <a:stretch/>
        </p:blipFill>
        <p:spPr>
          <a:xfrm>
            <a:off x="5707382" y="-1"/>
            <a:ext cx="3460186" cy="5146159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F10864-140A-4105-8446-7D171CA910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8667116" cy="5143500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1318C9-860D-4879-8D49-85B1463FB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001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D1318C9-860D-4879-8D49-85B1463F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7F8A633-7B4E-4305-9D20-8E9336037E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97E8B3E7-592C-47E6-AB74-D430887F3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B9FFF622-5684-4520-80FC-BEFA3BA11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8" y="1241091"/>
            <a:ext cx="5312094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4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EAB6F600-3A4B-4684-9B36-FED4224E4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7" y="1661795"/>
            <a:ext cx="5312095" cy="2803525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9698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dark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0" y="1311275"/>
            <a:ext cx="9144000" cy="38322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6614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3701" y="1757268"/>
            <a:ext cx="2603762" cy="300999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75217CA-3193-497B-83C4-00A70535D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71782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021A582-89D7-4731-A2E5-C34EAF655F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71782" y="1757268"/>
            <a:ext cx="2600511" cy="300999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ED6756BE-C160-4425-BC65-3744E80DAC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46614" y="1757088"/>
            <a:ext cx="2600511" cy="3010176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526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82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5286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F58796C5-CF98-41B6-843F-7AB03C618E0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47119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276000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95286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3276000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6147119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82556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81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642144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1323158"/>
            <a:ext cx="1977572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6859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2516858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555" y="1635468"/>
            <a:ext cx="1898862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94128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Rechteck 1">
            <a:extLst>
              <a:ext uri="{FF2B5EF4-FFF2-40B4-BE49-F238E27FC236}">
                <a16:creationId xmlns:a16="http://schemas.microsoft.com/office/drawing/2014/main" id="{8E556165-61E2-4786-B473-F51DA733473B}"/>
              </a:ext>
            </a:extLst>
          </p:cNvPr>
          <p:cNvSpPr/>
          <p:nvPr userDrawn="1"/>
        </p:nvSpPr>
        <p:spPr>
          <a:xfrm>
            <a:off x="6767429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3CE9EFC4-3501-4846-8278-301874CE2F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42144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58BBC46C-194F-4C9F-9FD8-898C3F3728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19413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1B6DDADC-EA82-497F-A471-C08DBE597F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67429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ECD39790-C71F-42C5-991C-5A01696925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4698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012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94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1287" y="1313493"/>
            <a:ext cx="3663635" cy="205786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5286" y="1313493"/>
            <a:ext cx="45719" cy="205786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9559DBEF-0BFC-47EB-8F1E-EA724849323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190336" y="1311274"/>
            <a:ext cx="455837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5394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532A72C6-D2AA-4FE0-A4AE-BAC2BECC223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218827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120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7186541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DA5C245E-507D-614D-B9C0-73900E4DA3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951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C5602A9-BBAC-954D-82C6-CAD4399D50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67596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67596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951714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6951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7596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2918642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1418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0811" y="1313072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68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66286" y="1313495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724282" y="131349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B786CE5F-9C56-3944-8D14-4D3D81FF16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287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8FFBB286-A1FE-C64A-981E-BB2B7011D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4001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34001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8B27323-49F1-4BEB-93FE-1B1F5AC4F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A5F88C20-C129-4214-8DEC-5579E6244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4001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398339" y="131516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340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horizont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0811" y="1313072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66286" y="1313495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724282" y="131349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34001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8B27323-49F1-4BEB-93FE-1B1F5AC4F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3700" y="3079555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A5F88C20-C129-4214-8DEC-5579E6244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0286" y="3079554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398339" y="131516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934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26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3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59118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93872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612311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5203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57872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9118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95203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6EBF3084-1251-47D7-90AF-4E9F3B0A9F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59118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188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773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03429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552858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642144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1977572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685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251685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1977572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1685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20C31788-9811-4DA3-86AD-351F1B455A6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67814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Rechteck 1">
            <a:extLst>
              <a:ext uri="{FF2B5EF4-FFF2-40B4-BE49-F238E27FC236}">
                <a16:creationId xmlns:a16="http://schemas.microsoft.com/office/drawing/2014/main" id="{8E556165-61E2-4786-B473-F51DA733473B}"/>
              </a:ext>
            </a:extLst>
          </p:cNvPr>
          <p:cNvSpPr/>
          <p:nvPr userDrawn="1"/>
        </p:nvSpPr>
        <p:spPr>
          <a:xfrm>
            <a:off x="6767429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3CE9EFC4-3501-4846-8278-301874CE2F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42144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58BBC46C-194F-4C9F-9FD8-898C3F3728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42144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1B6DDADC-EA82-497F-A471-C08DBE597F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6742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ECD39790-C71F-42C5-991C-5A01696925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6742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681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9532" y="161792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700" y="1318770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6141" y="1318770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48647" y="4973269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GB" sz="700" kern="1200" smtClean="0">
                <a:solidFill>
                  <a:srgbClr val="25365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57872" y="1620554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27551" y="1324044"/>
            <a:ext cx="2620510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7071" y="1617920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37633" y="1621871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00922" y="1621871"/>
            <a:ext cx="2542489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42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6121161" y="1620553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 txBox="1">
            <a:spLocks/>
          </p:cNvSpPr>
          <p:nvPr userDrawn="1"/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rgbClr val="253652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5287" y="327977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9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7414" y="2977987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59855" y="2977987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3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61586" y="3279771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24875" y="2983261"/>
            <a:ext cx="2620510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0785" y="3281088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41347" y="3281088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4636" y="3281088"/>
            <a:ext cx="2542489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8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6124875" y="327977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49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295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1">
    <p:bg>
      <p:bgPr>
        <a:solidFill>
          <a:srgbClr val="006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23620B-B26C-4CEF-8B20-03DC8FB23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513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23620B-B26C-4CEF-8B20-03DC8FB23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56384F3-7CDD-8547-AD8E-0495239020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4602675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38C0C13-4B75-4A45-8FB0-274B797FB3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4602675" cy="198414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4363D9AE-E8B2-4BE1-9D1C-7A57D71B7C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0913E4A-FBD3-4331-B8CE-15538BECB0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B72C7E-100E-4238-8DC8-06C45453DC51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8353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_dark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424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D7E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006D7E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297816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CF517C0-EE39-412E-8DF0-0883793A94F2}"/>
              </a:ext>
            </a:extLst>
          </p:cNvPr>
          <p:cNvSpPr/>
          <p:nvPr userDrawn="1"/>
        </p:nvSpPr>
        <p:spPr>
          <a:xfrm>
            <a:off x="450705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3629024-A5CC-434F-8906-BF77CE34F8E2}"/>
              </a:ext>
            </a:extLst>
          </p:cNvPr>
          <p:cNvSpPr/>
          <p:nvPr userDrawn="1"/>
        </p:nvSpPr>
        <p:spPr>
          <a:xfrm>
            <a:off x="6137561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D9E6268-43C5-42D0-B062-0CCCA78044AC}"/>
              </a:ext>
            </a:extLst>
          </p:cNvPr>
          <p:cNvSpPr/>
          <p:nvPr userDrawn="1"/>
        </p:nvSpPr>
        <p:spPr>
          <a:xfrm>
            <a:off x="3297816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70B609F-CCF6-48F1-8E46-303B9FB076A1}"/>
              </a:ext>
            </a:extLst>
          </p:cNvPr>
          <p:cNvSpPr/>
          <p:nvPr userDrawn="1"/>
        </p:nvSpPr>
        <p:spPr>
          <a:xfrm>
            <a:off x="450705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17F25DD-CADD-4E00-8729-2BC4E14A3D3A}"/>
              </a:ext>
            </a:extLst>
          </p:cNvPr>
          <p:cNvSpPr/>
          <p:nvPr userDrawn="1"/>
        </p:nvSpPr>
        <p:spPr>
          <a:xfrm>
            <a:off x="6137561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C09AE924-DBBB-43BC-A45F-1BFD6055B51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0704" y="1498310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AC4095D9-95C7-47AE-8BF5-71C27490149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01060" y="1498310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29" name="Inhaltsplatzhalter 6">
            <a:extLst>
              <a:ext uri="{FF2B5EF4-FFF2-40B4-BE49-F238E27FC236}">
                <a16:creationId xmlns:a16="http://schemas.microsoft.com/office/drawing/2014/main" id="{5BEB07DB-5A64-4C40-AEDA-A9FD00B89C9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34316" y="1505441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0" name="Inhaltsplatzhalter 6">
            <a:extLst>
              <a:ext uri="{FF2B5EF4-FFF2-40B4-BE49-F238E27FC236}">
                <a16:creationId xmlns:a16="http://schemas.microsoft.com/office/drawing/2014/main" id="{76EA4F92-8306-4BAF-A003-A2938EACE8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3776" y="3077728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564F27A1-3986-4B09-9E83-BDB15E0B7CC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83522" y="3077728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0DCCD1CB-EED8-4719-820C-6050EBBA657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0634" y="3072821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089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61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aseline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7276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petr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0372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8C9DC8B-8E44-42DE-BF74-AAB0E5AEF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603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80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5796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20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Inhaltsplatzhalter 26"/>
          <p:cNvPicPr>
            <a:picLocks noChangeAspect="1"/>
          </p:cNvPicPr>
          <p:nvPr userDrawn="1"/>
        </p:nvPicPr>
        <p:blipFill>
          <a:blip r:embed="rId6" cstate="print">
            <a:alphaModFix amt="25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6" y="828591"/>
            <a:ext cx="8109617" cy="399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691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pres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09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621897" y="753595"/>
            <a:ext cx="1440000" cy="1440000"/>
          </a:xfrm>
          <a:prstGeom prst="ellipse">
            <a:avLst/>
          </a:prstGeom>
          <a:ln w="38100" cap="flat"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6623" y="1814303"/>
            <a:ext cx="6176939" cy="175491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897" y="2933948"/>
            <a:ext cx="6176939" cy="185739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Insert company nam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897" y="3165866"/>
            <a:ext cx="6176939" cy="10089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Insert company address and contact detail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2300" y="4285096"/>
            <a:ext cx="6176963" cy="323850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nsert URL</a:t>
            </a:r>
            <a:endParaRPr lang="de-A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246624" y="2018104"/>
            <a:ext cx="6176939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Job function</a:t>
            </a:r>
          </a:p>
        </p:txBody>
      </p:sp>
    </p:spTree>
    <p:extLst>
      <p:ext uri="{BB962C8B-B14F-4D97-AF65-F5344CB8AC3E}">
        <p14:creationId xmlns:p14="http://schemas.microsoft.com/office/powerpoint/2010/main" val="2535298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presenter inkl. Linked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621897" y="753595"/>
            <a:ext cx="1440000" cy="1440000"/>
          </a:xfrm>
          <a:prstGeom prst="ellipse">
            <a:avLst/>
          </a:prstGeom>
          <a:ln w="38100" cap="flat"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6623" y="1151048"/>
            <a:ext cx="6176939" cy="175491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897" y="2933948"/>
            <a:ext cx="6176939" cy="185739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AT" dirty="0"/>
              <a:t>Company Nam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897" y="3165866"/>
            <a:ext cx="6176939" cy="67751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Company addres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2300" y="4285096"/>
            <a:ext cx="6176963" cy="323850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UR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246624" y="1354849"/>
            <a:ext cx="6176939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Job function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72744" y="1661677"/>
            <a:ext cx="5950817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LinkedIn Profile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622" y="1653457"/>
            <a:ext cx="176400" cy="1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067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3033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93700" y="1100391"/>
            <a:ext cx="6337738" cy="14773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Product Manage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productmanagement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Sales, Business Develop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sales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Marketing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marketing@frauscher.com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93700" y="627725"/>
            <a:ext cx="63377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+mn-lt"/>
              </a:rPr>
              <a:t>If you have any questions, please feel free to contact us: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844685"/>
            <a:ext cx="2684206" cy="18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299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09" y="3844685"/>
            <a:ext cx="2665601" cy="1836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838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</p:spTree>
    <p:extLst>
      <p:ext uri="{BB962C8B-B14F-4D97-AF65-F5344CB8AC3E}">
        <p14:creationId xmlns:p14="http://schemas.microsoft.com/office/powerpoint/2010/main" val="4185440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778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910" y="2507110"/>
            <a:ext cx="5281810" cy="886397"/>
          </a:xfr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10" y="1270229"/>
            <a:ext cx="3454470" cy="2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947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76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0"/>
            <a:ext cx="4572000" cy="5151794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13978" y="620721"/>
            <a:ext cx="6101976" cy="3902057"/>
          </a:xfrm>
          <a:prstGeom prst="rect">
            <a:avLst/>
          </a:prstGeom>
          <a:ln w="19050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B29EAF-479C-42FD-BE39-40681E1E11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40725" y="908693"/>
            <a:ext cx="20574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5E97C7A-F0FF-4F9D-A771-E65D4FB46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40725" y="1655660"/>
            <a:ext cx="2057401" cy="198414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046685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636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EA5BE6AB-90B8-4F4F-BF10-AC914D66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910" y="2507110"/>
            <a:ext cx="5281810" cy="886397"/>
          </a:xfr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10" y="1270229"/>
            <a:ext cx="3454470" cy="2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384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748" b="10390"/>
          <a:stretch/>
        </p:blipFill>
        <p:spPr>
          <a:xfrm>
            <a:off x="5707382" y="-1"/>
            <a:ext cx="3460186" cy="5146159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F10864-140A-4105-8446-7D171CA910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8667116" cy="5143500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1318C9-860D-4879-8D49-85B1463FB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71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D1318C9-860D-4879-8D49-85B1463F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7F8A633-7B4E-4305-9D20-8E9336037E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97E8B3E7-592C-47E6-AB74-D430887F3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B9FFF622-5684-4520-80FC-BEFA3BA11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8" y="1241091"/>
            <a:ext cx="5312094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4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EAB6F600-3A4B-4684-9B36-FED4224E4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7" y="1661795"/>
            <a:ext cx="5312095" cy="2803525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31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1">
    <p:bg>
      <p:bgPr>
        <a:solidFill>
          <a:srgbClr val="006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23620B-B26C-4CEF-8B20-03DC8FB23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20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23620B-B26C-4CEF-8B20-03DC8FB23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56384F3-7CDD-8547-AD8E-0495239020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4602675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38C0C13-4B75-4A45-8FB0-274B797FB3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4602675" cy="198414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4363D9AE-E8B2-4BE1-9D1C-7A57D71B7C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0913E4A-FBD3-4331-B8CE-15538BECB0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B72C7E-100E-4238-8DC8-06C45453DC51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1543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907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0"/>
            <a:ext cx="4572000" cy="5151794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13978" y="620721"/>
            <a:ext cx="6101976" cy="3902057"/>
          </a:xfrm>
          <a:prstGeom prst="rect">
            <a:avLst/>
          </a:prstGeom>
          <a:ln w="19050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B29EAF-479C-42FD-BE39-40681E1E11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40725" y="908693"/>
            <a:ext cx="2057400" cy="66479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5E97C7A-F0FF-4F9D-A771-E65D4FB46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40725" y="1655660"/>
            <a:ext cx="2057401" cy="198414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899806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sitting, water, blue, table&#10;&#10;Description automatically generated">
            <a:extLst>
              <a:ext uri="{FF2B5EF4-FFF2-40B4-BE49-F238E27FC236}">
                <a16:creationId xmlns:a16="http://schemas.microsoft.com/office/drawing/2014/main" id="{BBECB57E-554B-4B96-A937-A90B9183E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4" t="16090" r="-64" b="20582"/>
          <a:stretch/>
        </p:blipFill>
        <p:spPr>
          <a:xfrm>
            <a:off x="3187" y="-8294"/>
            <a:ext cx="9165520" cy="515560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184BECA9-9568-4395-9FDD-388754B8B417}"/>
              </a:ext>
            </a:extLst>
          </p:cNvPr>
          <p:cNvSpPr/>
          <p:nvPr userDrawn="1"/>
        </p:nvSpPr>
        <p:spPr>
          <a:xfrm rot="5400000">
            <a:off x="1996104" y="-2019022"/>
            <a:ext cx="5151794" cy="9171393"/>
          </a:xfrm>
          <a:prstGeom prst="rect">
            <a:avLst/>
          </a:prstGeom>
          <a:solidFill>
            <a:srgbClr val="25365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508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-8294"/>
            <a:ext cx="2647291" cy="5151794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2" name="Rechteck 7">
            <a:extLst>
              <a:ext uri="{FF2B5EF4-FFF2-40B4-BE49-F238E27FC236}">
                <a16:creationId xmlns:a16="http://schemas.microsoft.com/office/drawing/2014/main" id="{2D26E369-E4A9-4A7D-BF0C-886A54EB1512}"/>
              </a:ext>
            </a:extLst>
          </p:cNvPr>
          <p:cNvSpPr/>
          <p:nvPr userDrawn="1"/>
        </p:nvSpPr>
        <p:spPr>
          <a:xfrm>
            <a:off x="0" y="-8295"/>
            <a:ext cx="1033929" cy="936453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B20744D-F11D-4858-B269-355B87DE59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3749" y="1573471"/>
            <a:ext cx="5307943" cy="59816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182562" indent="0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sub text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C90409D-C25E-40A0-B1D9-93B591AA3E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9599" y="1074891"/>
            <a:ext cx="5312094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4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A3279FE0-DC38-41BB-9359-2C6108DBA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6" y="238982"/>
            <a:ext cx="1030753" cy="598161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82562" indent="0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Chapter</a:t>
            </a:r>
          </a:p>
        </p:txBody>
      </p:sp>
    </p:spTree>
    <p:extLst>
      <p:ext uri="{BB962C8B-B14F-4D97-AF65-F5344CB8AC3E}">
        <p14:creationId xmlns:p14="http://schemas.microsoft.com/office/powerpoint/2010/main" val="42873385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801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0068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8">
            <a:extLst>
              <a:ext uri="{FF2B5EF4-FFF2-40B4-BE49-F238E27FC236}">
                <a16:creationId xmlns:a16="http://schemas.microsoft.com/office/drawing/2014/main" id="{ACCB2698-4994-4F6B-8524-B494FD93FBF3}"/>
              </a:ext>
            </a:extLst>
          </p:cNvPr>
          <p:cNvSpPr/>
          <p:nvPr userDrawn="1"/>
        </p:nvSpPr>
        <p:spPr>
          <a:xfrm>
            <a:off x="0" y="-4234"/>
            <a:ext cx="9144000" cy="11024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394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01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8">
            <a:extLst>
              <a:ext uri="{FF2B5EF4-FFF2-40B4-BE49-F238E27FC236}">
                <a16:creationId xmlns:a16="http://schemas.microsoft.com/office/drawing/2014/main" id="{874D506A-5D01-4D71-93B8-60E7755BA5BE}"/>
              </a:ext>
            </a:extLst>
          </p:cNvPr>
          <p:cNvSpPr/>
          <p:nvPr userDrawn="1"/>
        </p:nvSpPr>
        <p:spPr>
          <a:xfrm>
            <a:off x="3719945" y="-5339"/>
            <a:ext cx="5420878" cy="11024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8">
            <a:extLst>
              <a:ext uri="{FF2B5EF4-FFF2-40B4-BE49-F238E27FC236}">
                <a16:creationId xmlns:a16="http://schemas.microsoft.com/office/drawing/2014/main" id="{D818F4BC-39B0-4E44-A2B0-54B1A90FDA4B}"/>
              </a:ext>
            </a:extLst>
          </p:cNvPr>
          <p:cNvSpPr/>
          <p:nvPr userDrawn="1"/>
        </p:nvSpPr>
        <p:spPr>
          <a:xfrm>
            <a:off x="3176" y="-5918"/>
            <a:ext cx="7790006" cy="1102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918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78FF337-AEE9-4D7F-B0F3-18B05862BC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1433" y="-5339"/>
            <a:ext cx="1851975" cy="1099054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F9796C-D52E-4DB6-99B3-29076F6734CC}"/>
              </a:ext>
            </a:extLst>
          </p:cNvPr>
          <p:cNvCxnSpPr>
            <a:cxnSpLocks/>
          </p:cNvCxnSpPr>
          <p:nvPr userDrawn="1"/>
        </p:nvCxnSpPr>
        <p:spPr>
          <a:xfrm flipV="1">
            <a:off x="8072151" y="-5339"/>
            <a:ext cx="630521" cy="109905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66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E552BD1-22C5-4B24-8E22-8E9C0801CCAC}"/>
              </a:ext>
            </a:extLst>
          </p:cNvPr>
          <p:cNvSpPr/>
          <p:nvPr userDrawn="1"/>
        </p:nvSpPr>
        <p:spPr>
          <a:xfrm>
            <a:off x="0" y="2929359"/>
            <a:ext cx="9122562" cy="221414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001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3206783"/>
            <a:ext cx="8353425" cy="1555576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265E13DE-0E7F-4F4E-87ED-F2E0EEB378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5287" y="1311275"/>
            <a:ext cx="8353425" cy="1514368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233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AA59B50-7E2C-446F-AFA9-BB5AB3AC1151}"/>
              </a:ext>
            </a:extLst>
          </p:cNvPr>
          <p:cNvSpPr/>
          <p:nvPr userDrawn="1"/>
        </p:nvSpPr>
        <p:spPr>
          <a:xfrm>
            <a:off x="-1" y="1039450"/>
            <a:ext cx="9144000" cy="410404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hteck 8">
            <a:extLst>
              <a:ext uri="{FF2B5EF4-FFF2-40B4-BE49-F238E27FC236}">
                <a16:creationId xmlns:a16="http://schemas.microsoft.com/office/drawing/2014/main" id="{ACCB2698-4994-4F6B-8524-B494FD93FBF3}"/>
              </a:ext>
            </a:extLst>
          </p:cNvPr>
          <p:cNvSpPr/>
          <p:nvPr userDrawn="1"/>
        </p:nvSpPr>
        <p:spPr>
          <a:xfrm>
            <a:off x="0" y="-4234"/>
            <a:ext cx="9144000" cy="1102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15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2317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picture containing sitting, water, blue, table&#10;&#10;Description automatically generated">
            <a:extLst>
              <a:ext uri="{FF2B5EF4-FFF2-40B4-BE49-F238E27FC236}">
                <a16:creationId xmlns:a16="http://schemas.microsoft.com/office/drawing/2014/main" id="{BBECB57E-554B-4B96-A937-A90B9183E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4" t="16090" r="-64" b="20582"/>
          <a:stretch/>
        </p:blipFill>
        <p:spPr>
          <a:xfrm>
            <a:off x="3187" y="-8294"/>
            <a:ext cx="9165520" cy="515560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184BECA9-9568-4395-9FDD-388754B8B417}"/>
              </a:ext>
            </a:extLst>
          </p:cNvPr>
          <p:cNvSpPr/>
          <p:nvPr userDrawn="1"/>
        </p:nvSpPr>
        <p:spPr>
          <a:xfrm rot="5400000">
            <a:off x="1996104" y="-2019022"/>
            <a:ext cx="5151794" cy="9171393"/>
          </a:xfrm>
          <a:prstGeom prst="rect">
            <a:avLst/>
          </a:prstGeom>
          <a:solidFill>
            <a:srgbClr val="25365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000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-8294"/>
            <a:ext cx="2647291" cy="5151794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2" name="Rechteck 7">
            <a:extLst>
              <a:ext uri="{FF2B5EF4-FFF2-40B4-BE49-F238E27FC236}">
                <a16:creationId xmlns:a16="http://schemas.microsoft.com/office/drawing/2014/main" id="{2D26E369-E4A9-4A7D-BF0C-886A54EB1512}"/>
              </a:ext>
            </a:extLst>
          </p:cNvPr>
          <p:cNvSpPr/>
          <p:nvPr userDrawn="1"/>
        </p:nvSpPr>
        <p:spPr>
          <a:xfrm>
            <a:off x="0" y="-8295"/>
            <a:ext cx="1033929" cy="936453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B20744D-F11D-4858-B269-355B87DE59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3749" y="1573471"/>
            <a:ext cx="5307943" cy="598161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182562" indent="0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sub text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C90409D-C25E-40A0-B1D9-93B591AA3E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9599" y="1074891"/>
            <a:ext cx="5312094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4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A3279FE0-DC38-41BB-9359-2C6108DBA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76" y="238982"/>
            <a:ext cx="1030753" cy="598161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182562" indent="0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Chapter</a:t>
            </a:r>
          </a:p>
        </p:txBody>
      </p:sp>
    </p:spTree>
    <p:extLst>
      <p:ext uri="{BB962C8B-B14F-4D97-AF65-F5344CB8AC3E}">
        <p14:creationId xmlns:p14="http://schemas.microsoft.com/office/powerpoint/2010/main" val="29034673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459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3B04FE24-9287-4621-BB73-9C10195D3F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1109" y="1415185"/>
            <a:ext cx="8069839" cy="3455989"/>
          </a:xfrm>
        </p:spPr>
        <p:txBody>
          <a:bodyPr/>
          <a:lstStyle>
            <a:lvl1pPr marL="0" indent="0" defTabSz="360363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4pPr>
            <a:lvl5pPr marL="715962" indent="0"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3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3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95287" y="1311275"/>
            <a:ext cx="8353425" cy="3455988"/>
          </a:xfrm>
          <a:prstGeom prst="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</p:spTree>
    <p:extLst>
      <p:ext uri="{BB962C8B-B14F-4D97-AF65-F5344CB8AC3E}">
        <p14:creationId xmlns:p14="http://schemas.microsoft.com/office/powerpoint/2010/main" val="250304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 &amp; Cons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772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3B04FE24-9287-4621-BB73-9C10195D3F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1109" y="1415185"/>
            <a:ext cx="8069839" cy="3455989"/>
          </a:xfrm>
        </p:spPr>
        <p:txBody>
          <a:bodyPr/>
          <a:lstStyle>
            <a:lvl1pPr marL="360363" indent="0" defTabSz="360363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4pPr>
            <a:lvl5pPr marL="715962" indent="0"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3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3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95287" y="1311275"/>
            <a:ext cx="8353425" cy="3455988"/>
          </a:xfrm>
          <a:prstGeom prst="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F7B60-7096-4BBC-84CD-DB4029F35D29}"/>
              </a:ext>
            </a:extLst>
          </p:cNvPr>
          <p:cNvSpPr/>
          <p:nvPr userDrawn="1"/>
        </p:nvSpPr>
        <p:spPr>
          <a:xfrm>
            <a:off x="579080" y="1488537"/>
            <a:ext cx="199586" cy="199586"/>
          </a:xfrm>
          <a:prstGeom prst="ellipse">
            <a:avLst/>
          </a:prstGeom>
          <a:noFill/>
          <a:ln w="1905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3A42E8-34D5-4065-B040-5AD680C879EE}"/>
              </a:ext>
            </a:extLst>
          </p:cNvPr>
          <p:cNvSpPr txBox="1"/>
          <p:nvPr userDrawn="1"/>
        </p:nvSpPr>
        <p:spPr>
          <a:xfrm>
            <a:off x="591366" y="1396637"/>
            <a:ext cx="26025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2400" dirty="0">
                <a:solidFill>
                  <a:srgbClr val="006D7E"/>
                </a:solidFill>
              </a:rPr>
              <a:t>+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1E74A26-B699-4202-A925-F966052104CF}"/>
              </a:ext>
            </a:extLst>
          </p:cNvPr>
          <p:cNvSpPr/>
          <p:nvPr userDrawn="1"/>
        </p:nvSpPr>
        <p:spPr>
          <a:xfrm>
            <a:off x="591366" y="3093644"/>
            <a:ext cx="199586" cy="199586"/>
          </a:xfrm>
          <a:prstGeom prst="ellipse">
            <a:avLst/>
          </a:prstGeom>
          <a:noFill/>
          <a:ln w="1905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73CA33-45F6-434C-AF6E-1325182E3F27}"/>
              </a:ext>
            </a:extLst>
          </p:cNvPr>
          <p:cNvSpPr txBox="1"/>
          <p:nvPr userDrawn="1"/>
        </p:nvSpPr>
        <p:spPr>
          <a:xfrm>
            <a:off x="641273" y="2967589"/>
            <a:ext cx="26025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2400" dirty="0">
                <a:solidFill>
                  <a:srgbClr val="006D7E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817093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&amp;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579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0"/>
            <a:ext cx="4572000" cy="5148618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3436937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400" b="1" dirty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3436937" cy="1643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00E8D-5DA6-4965-91CB-5764E72DD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6" y="2255308"/>
            <a:ext cx="3436937" cy="234791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3414653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&amp;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86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2206"/>
            <a:ext cx="4572000" cy="514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539" y="310905"/>
            <a:ext cx="369817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0539" y="670582"/>
            <a:ext cx="3698174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0539" y="1230406"/>
            <a:ext cx="3698174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sz="100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4498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&amp; 1/2 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2574965"/>
            <a:ext cx="4572000" cy="25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-15186"/>
            <a:ext cx="4572000" cy="514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539" y="310905"/>
            <a:ext cx="369817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0539" y="670582"/>
            <a:ext cx="3698174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2"/>
            <a:ext cx="4572000" cy="256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0539" y="1230406"/>
            <a:ext cx="3698174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sz="100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99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&amp;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2004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34166" y="310905"/>
            <a:ext cx="5414546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34166" y="670582"/>
            <a:ext cx="5414546" cy="1938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4500"/>
            <a:ext cx="3133216" cy="514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166" y="1230406"/>
            <a:ext cx="5414546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</p:spTree>
    <p:extLst>
      <p:ext uri="{BB962C8B-B14F-4D97-AF65-F5344CB8AC3E}">
        <p14:creationId xmlns:p14="http://schemas.microsoft.com/office/powerpoint/2010/main" val="1423010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14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24038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60038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4824038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369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58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6614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75217CA-3193-497B-83C4-00A70535D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71782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Rechteck 18">
            <a:extLst>
              <a:ext uri="{FF2B5EF4-FFF2-40B4-BE49-F238E27FC236}">
                <a16:creationId xmlns:a16="http://schemas.microsoft.com/office/drawing/2014/main" id="{39CDE031-4AB2-44B8-B4A4-BD51612EF7C5}"/>
              </a:ext>
            </a:extLst>
          </p:cNvPr>
          <p:cNvSpPr/>
          <p:nvPr userDrawn="1"/>
        </p:nvSpPr>
        <p:spPr>
          <a:xfrm>
            <a:off x="3271782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021A582-89D7-4731-A2E5-C34EAF655F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07782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Rechteck 18">
            <a:extLst>
              <a:ext uri="{FF2B5EF4-FFF2-40B4-BE49-F238E27FC236}">
                <a16:creationId xmlns:a16="http://schemas.microsoft.com/office/drawing/2014/main" id="{4B39B28E-B394-4CF8-9161-185288B8EC45}"/>
              </a:ext>
            </a:extLst>
          </p:cNvPr>
          <p:cNvSpPr/>
          <p:nvPr userDrawn="1"/>
        </p:nvSpPr>
        <p:spPr>
          <a:xfrm>
            <a:off x="6146614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ED6756BE-C160-4425-BC65-3744E80DAC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82614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29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tx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3701" y="2978727"/>
            <a:ext cx="2603762" cy="1788536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F259859F-8AEF-4265-8D5E-47B7767AFA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1656" y="1428931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9D7C82-A700-433D-8709-C9DA3A9B5AFB}"/>
              </a:ext>
            </a:extLst>
          </p:cNvPr>
          <p:cNvSpPr/>
          <p:nvPr userDrawn="1"/>
        </p:nvSpPr>
        <p:spPr>
          <a:xfrm>
            <a:off x="391654" y="1647568"/>
            <a:ext cx="45719" cy="3119696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428931"/>
            <a:ext cx="2600511" cy="22974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A413FA67-35DA-4E47-AD5D-17A9AA8B2B9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2036" y="3269672"/>
            <a:ext cx="2535427" cy="1497589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CD2F150B-7150-4BFA-9C69-A10A62C7A32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280332" y="1428931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9E4FBB-90F8-4014-92C8-604774908637}"/>
              </a:ext>
            </a:extLst>
          </p:cNvPr>
          <p:cNvSpPr/>
          <p:nvPr userDrawn="1"/>
        </p:nvSpPr>
        <p:spPr>
          <a:xfrm>
            <a:off x="3280330" y="1647568"/>
            <a:ext cx="45719" cy="3119696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5CE05E98-1589-483B-8A69-2DA1E5A14F3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350712" y="3269672"/>
            <a:ext cx="2535427" cy="149759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DE9DD8AC-935E-4884-8B74-C0B154E6654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146541" y="1430844"/>
            <a:ext cx="2605808" cy="148728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FE78DD8-24AD-4AC0-BD72-9650AB1D1D4C}"/>
              </a:ext>
            </a:extLst>
          </p:cNvPr>
          <p:cNvSpPr/>
          <p:nvPr userDrawn="1"/>
        </p:nvSpPr>
        <p:spPr>
          <a:xfrm>
            <a:off x="6146539" y="1649481"/>
            <a:ext cx="45719" cy="3119696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4EDD25CA-0910-45F9-8244-527D4758E1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51836" y="1430844"/>
            <a:ext cx="2600511" cy="22974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A9EE1DD8-DDD9-4129-AF92-279E00918D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16921" y="3269671"/>
            <a:ext cx="2535427" cy="1499503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EAC29032-3B7F-4AB9-A1AC-99696E99F8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2037" y="3009330"/>
            <a:ext cx="2535428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11">
            <a:extLst>
              <a:ext uri="{FF2B5EF4-FFF2-40B4-BE49-F238E27FC236}">
                <a16:creationId xmlns:a16="http://schemas.microsoft.com/office/drawing/2014/main" id="{06C2EB70-7B35-44B5-9799-2D1D1B874C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50713" y="3009330"/>
            <a:ext cx="2535426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006D7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2" name="Textplatzhalter 11">
            <a:extLst>
              <a:ext uri="{FF2B5EF4-FFF2-40B4-BE49-F238E27FC236}">
                <a16:creationId xmlns:a16="http://schemas.microsoft.com/office/drawing/2014/main" id="{4C63931C-3F9A-45F7-AAAA-B6F8C8F576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16922" y="3009330"/>
            <a:ext cx="2535428" cy="229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8621A256-B9FF-4CB6-9D4E-4716C772861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285627" y="1428931"/>
            <a:ext cx="2600511" cy="229740"/>
          </a:xfrm>
          <a:prstGeom prst="rect">
            <a:avLst/>
          </a:prstGeom>
          <a:solidFill>
            <a:srgbClr val="006D7E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1400" b="1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1</a:t>
            </a:r>
          </a:p>
        </p:txBody>
      </p:sp>
    </p:spTree>
    <p:extLst>
      <p:ext uri="{BB962C8B-B14F-4D97-AF65-F5344CB8AC3E}">
        <p14:creationId xmlns:p14="http://schemas.microsoft.com/office/powerpoint/2010/main" val="340990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dark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0" y="1311275"/>
            <a:ext cx="9144000" cy="38322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6614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3701" y="1757268"/>
            <a:ext cx="2603762" cy="300999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75217CA-3193-497B-83C4-00A70535D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71782" y="143341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021A582-89D7-4731-A2E5-C34EAF655F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71782" y="1757268"/>
            <a:ext cx="2600511" cy="300999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ED6756BE-C160-4425-BC65-3744E80DAC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46614" y="1757088"/>
            <a:ext cx="2600511" cy="3010176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chemeClr val="bg1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chemeClr val="bg1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267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808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430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002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5286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F58796C5-CF98-41B6-843F-7AB03C618E0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47119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276000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95286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3276000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6147119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038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980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642144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1323158"/>
            <a:ext cx="1977572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6859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2516858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555" y="1635468"/>
            <a:ext cx="1898862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94128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Rechteck 1">
            <a:extLst>
              <a:ext uri="{FF2B5EF4-FFF2-40B4-BE49-F238E27FC236}">
                <a16:creationId xmlns:a16="http://schemas.microsoft.com/office/drawing/2014/main" id="{8E556165-61E2-4786-B473-F51DA733473B}"/>
              </a:ext>
            </a:extLst>
          </p:cNvPr>
          <p:cNvSpPr/>
          <p:nvPr userDrawn="1"/>
        </p:nvSpPr>
        <p:spPr>
          <a:xfrm>
            <a:off x="6767429" y="1635468"/>
            <a:ext cx="36000" cy="313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3CE9EFC4-3501-4846-8278-301874CE2F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42144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58BBC46C-194F-4C9F-9FD8-898C3F3728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19413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1B6DDADC-EA82-497F-A471-C08DBE597F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67429" y="1323158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ECD39790-C71F-42C5-991C-5A01696925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4698" y="1635468"/>
            <a:ext cx="1902427" cy="313200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0906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95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1287" y="1313493"/>
            <a:ext cx="3663635" cy="205786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5286" y="1313493"/>
            <a:ext cx="45719" cy="205786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9559DBEF-0BFC-47EB-8F1E-EA724849323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190336" y="1311274"/>
            <a:ext cx="455837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3991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532A72C6-D2AA-4FE0-A4AE-BAC2BECC223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218827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72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7186541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DA5C245E-507D-614D-B9C0-73900E4DA3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951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C5602A9-BBAC-954D-82C6-CAD4399D50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67596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67596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951714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6951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7596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2918642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72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0811" y="1313072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647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66286" y="1313495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724282" y="131349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B786CE5F-9C56-3944-8D14-4D3D81FF16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287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8FFBB286-A1FE-C64A-981E-BB2B7011D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4001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34001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8B27323-49F1-4BEB-93FE-1B1F5AC4F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A5F88C20-C129-4214-8DEC-5579E6244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4001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398339" y="131516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945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horizonta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0811" y="1313072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66286" y="1313495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724282" y="131349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34001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8B27323-49F1-4BEB-93FE-1B1F5AC4F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3700" y="3079555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A5F88C20-C129-4214-8DEC-5579E6244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0286" y="3079554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398339" y="131516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707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280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3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59118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93872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612311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5203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57872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9118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95203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6EBF3084-1251-47D7-90AF-4E9F3B0A9F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59118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3711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643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03429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552858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642144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1977572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685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251685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1977572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1685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20C31788-9811-4DA3-86AD-351F1B455A6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67814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Rechteck 1">
            <a:extLst>
              <a:ext uri="{FF2B5EF4-FFF2-40B4-BE49-F238E27FC236}">
                <a16:creationId xmlns:a16="http://schemas.microsoft.com/office/drawing/2014/main" id="{8E556165-61E2-4786-B473-F51DA733473B}"/>
              </a:ext>
            </a:extLst>
          </p:cNvPr>
          <p:cNvSpPr/>
          <p:nvPr userDrawn="1"/>
        </p:nvSpPr>
        <p:spPr>
          <a:xfrm>
            <a:off x="6767429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3CE9EFC4-3501-4846-8278-301874CE2F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42144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58BBC46C-194F-4C9F-9FD8-898C3F3728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42144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1B6DDADC-EA82-497F-A471-C08DBE597F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6742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ECD39790-C71F-42C5-991C-5A01696925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6742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8253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9532" y="161792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3700" y="1318770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6141" y="1318770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48647" y="4973269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GB" sz="700" kern="1200" smtClean="0">
                <a:solidFill>
                  <a:srgbClr val="25365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57872" y="1620554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27551" y="1324044"/>
            <a:ext cx="2620510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7071" y="1617920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37633" y="1621871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00922" y="1621871"/>
            <a:ext cx="2542489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42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6121161" y="1620553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 txBox="1">
            <a:spLocks/>
          </p:cNvSpPr>
          <p:nvPr userDrawn="1"/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rgbClr val="253652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5287" y="327977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9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7414" y="2977987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59855" y="2977987"/>
            <a:ext cx="2641847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3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61586" y="3279771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24875" y="2983261"/>
            <a:ext cx="2620510" cy="1661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0785" y="3281088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41347" y="3281088"/>
            <a:ext cx="2564762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4636" y="3281088"/>
            <a:ext cx="2542489" cy="1152000"/>
          </a:xfrm>
        </p:spPr>
        <p:txBody>
          <a:bodyPr wrap="square"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4"/>
            <a:endParaRPr lang="en-GB" dirty="0"/>
          </a:p>
          <a:p>
            <a:pPr lvl="4"/>
            <a:endParaRPr lang="en-GB" dirty="0"/>
          </a:p>
        </p:txBody>
      </p:sp>
      <p:sp>
        <p:nvSpPr>
          <p:cNvPr id="38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6124875" y="3279770"/>
            <a:ext cx="36000" cy="115200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381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295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_dark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593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D7E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006D7E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3297816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CF517C0-EE39-412E-8DF0-0883793A94F2}"/>
              </a:ext>
            </a:extLst>
          </p:cNvPr>
          <p:cNvSpPr/>
          <p:nvPr userDrawn="1"/>
        </p:nvSpPr>
        <p:spPr>
          <a:xfrm>
            <a:off x="450705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3629024-A5CC-434F-8906-BF77CE34F8E2}"/>
              </a:ext>
            </a:extLst>
          </p:cNvPr>
          <p:cNvSpPr/>
          <p:nvPr userDrawn="1"/>
        </p:nvSpPr>
        <p:spPr>
          <a:xfrm>
            <a:off x="6137561" y="1463675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D9E6268-43C5-42D0-B062-0CCCA78044AC}"/>
              </a:ext>
            </a:extLst>
          </p:cNvPr>
          <p:cNvSpPr/>
          <p:nvPr userDrawn="1"/>
        </p:nvSpPr>
        <p:spPr>
          <a:xfrm>
            <a:off x="3297816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70B609F-CCF6-48F1-8E46-303B9FB076A1}"/>
              </a:ext>
            </a:extLst>
          </p:cNvPr>
          <p:cNvSpPr/>
          <p:nvPr userDrawn="1"/>
        </p:nvSpPr>
        <p:spPr>
          <a:xfrm>
            <a:off x="450705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17F25DD-CADD-4E00-8729-2BC4E14A3D3A}"/>
              </a:ext>
            </a:extLst>
          </p:cNvPr>
          <p:cNvSpPr/>
          <p:nvPr userDrawn="1"/>
        </p:nvSpPr>
        <p:spPr>
          <a:xfrm>
            <a:off x="6137561" y="3036166"/>
            <a:ext cx="2514168" cy="1231494"/>
          </a:xfrm>
          <a:prstGeom prst="round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sp>
        <p:nvSpPr>
          <p:cNvPr id="27" name="Inhaltsplatzhalter 6">
            <a:extLst>
              <a:ext uri="{FF2B5EF4-FFF2-40B4-BE49-F238E27FC236}">
                <a16:creationId xmlns:a16="http://schemas.microsoft.com/office/drawing/2014/main" id="{C09AE924-DBBB-43BC-A45F-1BFD6055B51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50704" y="1498310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AC4095D9-95C7-47AE-8BF5-71C27490149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01060" y="1498310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29" name="Inhaltsplatzhalter 6">
            <a:extLst>
              <a:ext uri="{FF2B5EF4-FFF2-40B4-BE49-F238E27FC236}">
                <a16:creationId xmlns:a16="http://schemas.microsoft.com/office/drawing/2014/main" id="{5BEB07DB-5A64-4C40-AEDA-A9FD00B89C9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34316" y="1505441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0" name="Inhaltsplatzhalter 6">
            <a:extLst>
              <a:ext uri="{FF2B5EF4-FFF2-40B4-BE49-F238E27FC236}">
                <a16:creationId xmlns:a16="http://schemas.microsoft.com/office/drawing/2014/main" id="{76EA4F92-8306-4BAF-A003-A2938EACE8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3776" y="3077728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564F27A1-3986-4B09-9E83-BDB15E0B7CC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83522" y="3077728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0DCCD1CB-EED8-4719-820C-6050EBBA657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0634" y="3072821"/>
            <a:ext cx="2514169" cy="1231494"/>
          </a:xfrm>
        </p:spPr>
        <p:txBody>
          <a:bodyPr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 algn="ctr"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 marL="715962" indent="0" algn="ctr">
              <a:lnSpc>
                <a:spcPct val="150000"/>
              </a:lnSpc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0572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8">
            <a:extLst>
              <a:ext uri="{FF2B5EF4-FFF2-40B4-BE49-F238E27FC236}">
                <a16:creationId xmlns:a16="http://schemas.microsoft.com/office/drawing/2014/main" id="{ACCB2698-4994-4F6B-8524-B494FD93FBF3}"/>
              </a:ext>
            </a:extLst>
          </p:cNvPr>
          <p:cNvSpPr/>
          <p:nvPr userDrawn="1"/>
        </p:nvSpPr>
        <p:spPr>
          <a:xfrm>
            <a:off x="0" y="-4234"/>
            <a:ext cx="9144000" cy="11024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487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4224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113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aseline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9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petr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1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8C9DC8B-8E44-42DE-BF74-AAB0E5AEF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29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30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4090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5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Inhaltsplatzhalter 26"/>
          <p:cNvPicPr>
            <a:picLocks noChangeAspect="1"/>
          </p:cNvPicPr>
          <p:nvPr userDrawn="1"/>
        </p:nvPicPr>
        <p:blipFill>
          <a:blip r:embed="rId6" cstate="print">
            <a:alphaModFix amt="25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6" y="828591"/>
            <a:ext cx="8109617" cy="399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40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pres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78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621897" y="753595"/>
            <a:ext cx="1440000" cy="1440000"/>
          </a:xfrm>
          <a:prstGeom prst="ellipse">
            <a:avLst/>
          </a:prstGeom>
          <a:ln w="38100" cap="flat"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6623" y="1814303"/>
            <a:ext cx="6176939" cy="175491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897" y="2933948"/>
            <a:ext cx="6176939" cy="185739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Insert company nam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897" y="3165866"/>
            <a:ext cx="6176939" cy="10089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Insert company address and contact detail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2300" y="4285096"/>
            <a:ext cx="6176963" cy="323850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nsert URL</a:t>
            </a:r>
            <a:endParaRPr lang="de-A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246624" y="2018104"/>
            <a:ext cx="6176939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Job function</a:t>
            </a:r>
          </a:p>
        </p:txBody>
      </p:sp>
    </p:spTree>
    <p:extLst>
      <p:ext uri="{BB962C8B-B14F-4D97-AF65-F5344CB8AC3E}">
        <p14:creationId xmlns:p14="http://schemas.microsoft.com/office/powerpoint/2010/main" val="1941535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presenter inkl. Linked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621897" y="753595"/>
            <a:ext cx="1440000" cy="1440000"/>
          </a:xfrm>
          <a:prstGeom prst="ellipse">
            <a:avLst/>
          </a:prstGeom>
          <a:ln w="38100" cap="flat"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6623" y="1151048"/>
            <a:ext cx="6176939" cy="175491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897" y="2933948"/>
            <a:ext cx="6176939" cy="185739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de-AT" dirty="0"/>
              <a:t>Company Nam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897" y="3165866"/>
            <a:ext cx="6176939" cy="67751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Company addres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2300" y="4285096"/>
            <a:ext cx="6176963" cy="323850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UR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246624" y="1354849"/>
            <a:ext cx="6176939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Job function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472744" y="1661677"/>
            <a:ext cx="5950817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LinkedIn Profile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622" y="1653457"/>
            <a:ext cx="176400" cy="1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95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472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93700" y="1100391"/>
            <a:ext cx="6337738" cy="14773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Product Manage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productmanagement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Sales, Business Develop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sales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Marketing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marketing@frauscher.com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93700" y="627725"/>
            <a:ext cx="63377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+mn-lt"/>
              </a:rPr>
              <a:t>If you have any questions, please feel free to contact us: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844685"/>
            <a:ext cx="2684206" cy="18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87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Log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09" y="3844685"/>
            <a:ext cx="2665601" cy="1836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25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</p:spTree>
    <p:extLst>
      <p:ext uri="{BB962C8B-B14F-4D97-AF65-F5344CB8AC3E}">
        <p14:creationId xmlns:p14="http://schemas.microsoft.com/office/powerpoint/2010/main" val="3741190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17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910" y="2507110"/>
            <a:ext cx="5281810" cy="886397"/>
          </a:xfr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10" y="1270229"/>
            <a:ext cx="3454470" cy="2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866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425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EA5BE6AB-90B8-4F4F-BF10-AC914D66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9910" y="2507110"/>
            <a:ext cx="5281810" cy="886397"/>
          </a:xfrm>
        </p:spPr>
        <p:txBody>
          <a:bodyPr lIns="0" tIns="0" rIns="0" bIns="0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10" y="1270229"/>
            <a:ext cx="3454470" cy="2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41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8">
            <a:extLst>
              <a:ext uri="{FF2B5EF4-FFF2-40B4-BE49-F238E27FC236}">
                <a16:creationId xmlns:a16="http://schemas.microsoft.com/office/drawing/2014/main" id="{874D506A-5D01-4D71-93B8-60E7755BA5BE}"/>
              </a:ext>
            </a:extLst>
          </p:cNvPr>
          <p:cNvSpPr/>
          <p:nvPr userDrawn="1"/>
        </p:nvSpPr>
        <p:spPr>
          <a:xfrm>
            <a:off x="3719945" y="-5339"/>
            <a:ext cx="5420878" cy="11024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8">
            <a:extLst>
              <a:ext uri="{FF2B5EF4-FFF2-40B4-BE49-F238E27FC236}">
                <a16:creationId xmlns:a16="http://schemas.microsoft.com/office/drawing/2014/main" id="{D818F4BC-39B0-4E44-A2B0-54B1A90FDA4B}"/>
              </a:ext>
            </a:extLst>
          </p:cNvPr>
          <p:cNvSpPr/>
          <p:nvPr userDrawn="1"/>
        </p:nvSpPr>
        <p:spPr>
          <a:xfrm>
            <a:off x="3176" y="-5918"/>
            <a:ext cx="7790006" cy="1102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10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78FF337-AEE9-4D7F-B0F3-18B05862BC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1433" y="-5339"/>
            <a:ext cx="1851975" cy="1099054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F9796C-D52E-4DB6-99B3-29076F6734CC}"/>
              </a:ext>
            </a:extLst>
          </p:cNvPr>
          <p:cNvCxnSpPr>
            <a:cxnSpLocks/>
          </p:cNvCxnSpPr>
          <p:nvPr userDrawn="1"/>
        </p:nvCxnSpPr>
        <p:spPr>
          <a:xfrm flipV="1">
            <a:off x="8072151" y="-5339"/>
            <a:ext cx="630521" cy="1099054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730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748" b="10390"/>
          <a:stretch/>
        </p:blipFill>
        <p:spPr>
          <a:xfrm>
            <a:off x="5707382" y="-1"/>
            <a:ext cx="3460186" cy="5146159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F10864-140A-4105-8446-7D171CA910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8667116" cy="5143500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1318C9-860D-4879-8D49-85B1463FB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782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D1318C9-860D-4879-8D49-85B1463F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7F8A633-7B4E-4305-9D20-8E9336037E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97E8B3E7-592C-47E6-AB74-D430887F3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B9FFF622-5684-4520-80FC-BEFA3BA11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8" y="1241091"/>
            <a:ext cx="5312094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24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EAB6F600-3A4B-4684-9B36-FED4224E4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7" y="1661795"/>
            <a:ext cx="5312095" cy="2803525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29331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rgbClr val="006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23620B-B26C-4CEF-8B20-03DC8FB23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0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23620B-B26C-4CEF-8B20-03DC8FB23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56384F3-7CDD-8547-AD8E-0495239020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4602675" cy="3323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38C0C13-4B75-4A45-8FB0-274B797FB3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4602675" cy="198414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4363D9AE-E8B2-4BE1-9D1C-7A57D71B7C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0913E4A-FBD3-4331-B8CE-15538BECB0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B72C7E-100E-4238-8DC8-06C45453DC51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8794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74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tx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1311274"/>
            <a:ext cx="835342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3934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 &amp;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7091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0"/>
            <a:ext cx="4572000" cy="5148618"/>
          </a:xfrm>
          <a:prstGeom prst="rect">
            <a:avLst/>
          </a:prstGeom>
          <a:solidFill>
            <a:srgbClr val="006D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95286" y="1241091"/>
            <a:ext cx="3436937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400" b="1" dirty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8" y="1655660"/>
            <a:ext cx="3436937" cy="1643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00E8D-5DA6-4965-91CB-5764E72DD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6" y="2255308"/>
            <a:ext cx="3436937" cy="234791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571999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2506714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icture &amp;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52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4572000" y="2206"/>
            <a:ext cx="4572000" cy="514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539" y="310905"/>
            <a:ext cx="369817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0539" y="670582"/>
            <a:ext cx="3698174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2"/>
            <a:ext cx="4572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0539" y="1230406"/>
            <a:ext cx="3698174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sz="100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727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7D300-7FCD-4E20-B059-8B291C910E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296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7D300-7FCD-4E20-B059-8B291C910E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34166" y="310905"/>
            <a:ext cx="5414546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2400" b="1">
                <a:solidFill>
                  <a:srgbClr val="25365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34166" y="670582"/>
            <a:ext cx="5414546" cy="1938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4500"/>
            <a:ext cx="3133216" cy="514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A2529A4F-28CD-4754-9AC2-56FC24CC4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2B6631-45AD-47DE-8864-4FDCB99C39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166" y="1230406"/>
            <a:ext cx="5414546" cy="370461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EA57DA2A-4252-4562-A6B7-399771105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</p:spTree>
    <p:extLst>
      <p:ext uri="{BB962C8B-B14F-4D97-AF65-F5344CB8AC3E}">
        <p14:creationId xmlns:p14="http://schemas.microsoft.com/office/powerpoint/2010/main" val="679679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101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95286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F58796C5-CF98-41B6-843F-7AB03C618E0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47119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276000" y="1309995"/>
            <a:ext cx="2601596" cy="275199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95286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3276000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6147119" y="4059005"/>
            <a:ext cx="2602800" cy="4714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42528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2489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24038" y="1313493"/>
            <a:ext cx="3923087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60038" y="1637348"/>
            <a:ext cx="3887087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4824038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70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981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6794424" y="4786718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en-GB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46614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951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6951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75217CA-3193-497B-83C4-00A70535D2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71782" y="1313493"/>
            <a:ext cx="2600511" cy="193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Rechteck 18">
            <a:extLst>
              <a:ext uri="{FF2B5EF4-FFF2-40B4-BE49-F238E27FC236}">
                <a16:creationId xmlns:a16="http://schemas.microsoft.com/office/drawing/2014/main" id="{39CDE031-4AB2-44B8-B4A4-BD51612EF7C5}"/>
              </a:ext>
            </a:extLst>
          </p:cNvPr>
          <p:cNvSpPr/>
          <p:nvPr userDrawn="1"/>
        </p:nvSpPr>
        <p:spPr>
          <a:xfrm>
            <a:off x="3271782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021A582-89D7-4731-A2E5-C34EAF655F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07782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2" name="Rechteck 18">
            <a:extLst>
              <a:ext uri="{FF2B5EF4-FFF2-40B4-BE49-F238E27FC236}">
                <a16:creationId xmlns:a16="http://schemas.microsoft.com/office/drawing/2014/main" id="{4B39B28E-B394-4CF8-9161-185288B8EC45}"/>
              </a:ext>
            </a:extLst>
          </p:cNvPr>
          <p:cNvSpPr/>
          <p:nvPr userDrawn="1"/>
        </p:nvSpPr>
        <p:spPr>
          <a:xfrm>
            <a:off x="6146614" y="1637348"/>
            <a:ext cx="36000" cy="3129915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ED6756BE-C160-4425-BC65-3744E80DACA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82614" y="1637348"/>
            <a:ext cx="2564511" cy="3129915"/>
          </a:xfrm>
        </p:spPr>
        <p:txBody>
          <a:bodyPr lIns="72000" tIns="0" rIns="0" bIns="0"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002A4C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002A4C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002A4C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002A4C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002A4C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975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458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aseline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963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E552BD1-22C5-4B24-8E22-8E9C0801CCAC}"/>
              </a:ext>
            </a:extLst>
          </p:cNvPr>
          <p:cNvSpPr/>
          <p:nvPr userDrawn="1"/>
        </p:nvSpPr>
        <p:spPr>
          <a:xfrm>
            <a:off x="0" y="2929359"/>
            <a:ext cx="9122562" cy="2214141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869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8105" y="4973269"/>
            <a:ext cx="110607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95287" y="3206783"/>
            <a:ext cx="8353425" cy="1555576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265E13DE-0E7F-4F4E-87ED-F2E0EEB378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5287" y="1311275"/>
            <a:ext cx="8353425" cy="1514368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0667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petr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715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8C9DC8B-8E44-42DE-BF74-AAB0E5AEF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910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91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3" y="4973269"/>
            <a:ext cx="18113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569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83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5365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Inhaltsplatzhalter 26"/>
          <p:cNvPicPr>
            <a:picLocks noChangeAspect="1"/>
          </p:cNvPicPr>
          <p:nvPr userDrawn="1"/>
        </p:nvPicPr>
        <p:blipFill>
          <a:blip r:embed="rId6" cstate="print">
            <a:alphaModFix amt="25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6" y="828591"/>
            <a:ext cx="8109617" cy="399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87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532A72C6-D2AA-4FE0-A4AE-BAC2BECC223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218827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055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Rechteck 28">
            <a:extLst>
              <a:ext uri="{FF2B5EF4-FFF2-40B4-BE49-F238E27FC236}">
                <a16:creationId xmlns:a16="http://schemas.microsoft.com/office/drawing/2014/main" id="{2810CCC5-5EAE-DA47-979D-DFD055B62D2B}"/>
              </a:ext>
            </a:extLst>
          </p:cNvPr>
          <p:cNvSpPr/>
          <p:nvPr userDrawn="1"/>
        </p:nvSpPr>
        <p:spPr>
          <a:xfrm>
            <a:off x="7186541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DA5C245E-507D-614D-B9C0-73900E4DA3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951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6951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C5602A9-BBAC-954D-82C6-CAD4399D50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67596" y="1521503"/>
            <a:ext cx="2495103" cy="3420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D584CBE2-E315-4840-8583-88D49663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67596" y="1313493"/>
            <a:ext cx="249510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51644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951714" y="1313493"/>
            <a:ext cx="1526172" cy="345377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6951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7F014AE5-F554-49CA-B1EB-9449D36F623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7596" y="1893572"/>
            <a:ext cx="2495103" cy="83253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lnSpc>
                <a:spcPct val="90000"/>
              </a:lnSpc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lnSpc>
                <a:spcPct val="90000"/>
              </a:lnSpc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2918642" y="1313493"/>
            <a:ext cx="36000" cy="345377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9624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AF24F0-3D82-4036-A4ED-74B794745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133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AF24F0-3D82-4036-A4ED-74B794745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68CC8095-4A88-46DF-9A23-3987EFF8F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AA264BB6-2FD0-41CF-8221-ED9B9A031C3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93C289C4-F3D5-4468-A645-A4C3F0EA9E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7E37F2F7-3373-4EF4-BF2E-074B1CF5DEF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1287" y="1313493"/>
            <a:ext cx="3663635" cy="205786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395286" y="1313493"/>
            <a:ext cx="45719" cy="2057860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9559DBEF-0BFC-47EB-8F1E-EA724849323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190336" y="1311274"/>
            <a:ext cx="4558375" cy="345598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8659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0811" y="1313072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974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66286" y="1313495"/>
            <a:ext cx="3978713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724282" y="131349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B786CE5F-9C56-3944-8D14-4D3D81FF16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287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8FFBB286-A1FE-C64A-981E-BB2B7011D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4001" y="2885544"/>
            <a:ext cx="4014713" cy="342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b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34001" y="2681870"/>
            <a:ext cx="4014713" cy="1938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4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A8B27323-49F1-4BEB-93FE-1B1F5AC4FE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A5F88C20-C129-4214-8DEC-5579E6244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4001" y="3270082"/>
            <a:ext cx="4014713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398339" y="1315165"/>
            <a:ext cx="45719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20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5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3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59118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293872" y="1313495"/>
            <a:ext cx="2589596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612311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5203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3257872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platzhalter 11">
            <a:extLst>
              <a:ext uri="{FF2B5EF4-FFF2-40B4-BE49-F238E27FC236}">
                <a16:creationId xmlns:a16="http://schemas.microsoft.com/office/drawing/2014/main" id="{79046195-D6D4-4192-BE38-537762C27B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9118" y="2681870"/>
            <a:ext cx="2589596" cy="1661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95203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6EBF3084-1251-47D7-90AF-4E9F3B0A9F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59118" y="3068353"/>
            <a:ext cx="2589596" cy="860235"/>
          </a:xfrm>
        </p:spPr>
        <p:txBody>
          <a:bodyPr>
            <a:sp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74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89A16CF-5973-4217-921A-7C8787C61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356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89A16CF-5973-4217-921A-7C8787C61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97A48F-3A15-4564-9C30-8AC51A066CE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757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96887DA9-82E7-4B8D-B597-5F4CC7C883F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03429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10EDA6EC-0EC3-42A8-AFDC-6FD4B96F7B5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552858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7" y="351409"/>
            <a:ext cx="8353425" cy="3323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Rechteck 1">
            <a:extLst>
              <a:ext uri="{FF2B5EF4-FFF2-40B4-BE49-F238E27FC236}">
                <a16:creationId xmlns:a16="http://schemas.microsoft.com/office/drawing/2014/main" id="{B8A3BDB8-15AD-5F4D-B915-BD71CA380A88}"/>
              </a:ext>
            </a:extLst>
          </p:cNvPr>
          <p:cNvSpPr/>
          <p:nvPr userDrawn="1"/>
        </p:nvSpPr>
        <p:spPr>
          <a:xfrm>
            <a:off x="4642144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04304ABD-D15B-2B4B-9B3C-6EE02A6BF8F0}"/>
              </a:ext>
            </a:extLst>
          </p:cNvPr>
          <p:cNvSpPr/>
          <p:nvPr userDrawn="1"/>
        </p:nvSpPr>
        <p:spPr>
          <a:xfrm>
            <a:off x="391573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5EE6F815-6B28-FC40-A5B1-A2D1552AB0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87" y="2681870"/>
            <a:ext cx="1977572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1FD9AAE8-B17F-FE44-AF00-479875EE68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685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47AB67A9-2595-4AAC-A1C3-2BBF56F23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23" name="Inhaltsplatzhalter 7">
            <a:extLst>
              <a:ext uri="{FF2B5EF4-FFF2-40B4-BE49-F238E27FC236}">
                <a16:creationId xmlns:a16="http://schemas.microsoft.com/office/drawing/2014/main" id="{625E3B50-17F5-40AF-8252-67C4C8A6AD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7" y="746133"/>
            <a:ext cx="8353425" cy="1938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4" name="Foliennummernplatzhalter 7">
            <a:extLst>
              <a:ext uri="{FF2B5EF4-FFF2-40B4-BE49-F238E27FC236}">
                <a16:creationId xmlns:a16="http://schemas.microsoft.com/office/drawing/2014/main" id="{3FCB3D26-AC6B-46F9-9A0D-5EF30C80E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7" name="Rechteck 10">
            <a:extLst>
              <a:ext uri="{FF2B5EF4-FFF2-40B4-BE49-F238E27FC236}">
                <a16:creationId xmlns:a16="http://schemas.microsoft.com/office/drawing/2014/main" id="{07049420-6DB0-4C82-A18D-6411AD4410BC}"/>
              </a:ext>
            </a:extLst>
          </p:cNvPr>
          <p:cNvSpPr/>
          <p:nvPr userDrawn="1"/>
        </p:nvSpPr>
        <p:spPr>
          <a:xfrm>
            <a:off x="2516858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F92A9007-BC00-4FA2-BEE1-FF5763F1B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5287" y="3068353"/>
            <a:ext cx="1977572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 baseline="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6E7D8B3-689C-486A-830F-C0AFCA093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1685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20C31788-9811-4DA3-86AD-351F1B455A6D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678144" y="1313495"/>
            <a:ext cx="1945285" cy="125306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9" name="Rechteck 1">
            <a:extLst>
              <a:ext uri="{FF2B5EF4-FFF2-40B4-BE49-F238E27FC236}">
                <a16:creationId xmlns:a16="http://schemas.microsoft.com/office/drawing/2014/main" id="{8E556165-61E2-4786-B473-F51DA733473B}"/>
              </a:ext>
            </a:extLst>
          </p:cNvPr>
          <p:cNvSpPr/>
          <p:nvPr userDrawn="1"/>
        </p:nvSpPr>
        <p:spPr>
          <a:xfrm>
            <a:off x="6767429" y="1313495"/>
            <a:ext cx="36000" cy="1253065"/>
          </a:xfrm>
          <a:prstGeom prst="rect">
            <a:avLst/>
          </a:prstGeom>
          <a:solidFill>
            <a:srgbClr val="3CB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11">
            <a:extLst>
              <a:ext uri="{FF2B5EF4-FFF2-40B4-BE49-F238E27FC236}">
                <a16:creationId xmlns:a16="http://schemas.microsoft.com/office/drawing/2014/main" id="{3CE9EFC4-3501-4846-8278-301874CE2F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42144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58BBC46C-194F-4C9F-9FD8-898C3F3728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42144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1B6DDADC-EA82-497F-A471-C08DBE597F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67429" y="2681870"/>
            <a:ext cx="1981285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3CB7A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ECD39790-C71F-42C5-991C-5A01696925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67429" y="3068353"/>
            <a:ext cx="1981285" cy="860235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>
                <a:solidFill>
                  <a:srgbClr val="253652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rgbClr val="253652"/>
                </a:solidFill>
              </a:defRPr>
            </a:lvl2pPr>
            <a:lvl3pPr>
              <a:spcBef>
                <a:spcPts val="300"/>
              </a:spcBef>
              <a:defRPr sz="900">
                <a:solidFill>
                  <a:srgbClr val="253652"/>
                </a:solidFill>
              </a:defRPr>
            </a:lvl3pPr>
            <a:lvl4pPr>
              <a:spcBef>
                <a:spcPts val="300"/>
              </a:spcBef>
              <a:defRPr sz="900">
                <a:solidFill>
                  <a:srgbClr val="253652"/>
                </a:solidFill>
              </a:defRPr>
            </a:lvl4pPr>
            <a:lvl5pPr>
              <a:spcBef>
                <a:spcPts val="300"/>
              </a:spcBef>
              <a:defRPr sz="90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8959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presen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9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621897" y="753595"/>
            <a:ext cx="1440000" cy="1440000"/>
          </a:xfrm>
          <a:prstGeom prst="ellipse">
            <a:avLst/>
          </a:prstGeom>
          <a:ln w="38100" cap="flat"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46623" y="1814303"/>
            <a:ext cx="6176939" cy="175491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897" y="2933948"/>
            <a:ext cx="6176939" cy="185739"/>
          </a:xfrm>
        </p:spPr>
        <p:txBody>
          <a:bodyPr/>
          <a:lstStyle>
            <a:lvl1pPr marL="0" indent="0">
              <a:buNone/>
              <a:defRPr b="1" baseline="0"/>
            </a:lvl1pPr>
          </a:lstStyle>
          <a:p>
            <a:pPr lvl="0"/>
            <a:r>
              <a:rPr lang="en-US" dirty="0"/>
              <a:t>Insert company nam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897" y="3165866"/>
            <a:ext cx="6176939" cy="10089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Insert company address and contact detail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2300" y="4285096"/>
            <a:ext cx="6176963" cy="323850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Insert URL</a:t>
            </a:r>
            <a:endParaRPr lang="de-AT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246624" y="2018104"/>
            <a:ext cx="6176939" cy="175491"/>
          </a:xfrm>
        </p:spPr>
        <p:txBody>
          <a:bodyPr/>
          <a:lstStyle>
            <a:lvl1pPr marL="0" indent="0">
              <a:buNone/>
              <a:defRPr b="0" baseline="0"/>
            </a:lvl1pPr>
          </a:lstStyle>
          <a:p>
            <a:pPr lvl="0"/>
            <a:r>
              <a:rPr lang="en-US" dirty="0"/>
              <a:t>Job function</a:t>
            </a:r>
          </a:p>
        </p:txBody>
      </p:sp>
    </p:spTree>
    <p:extLst>
      <p:ext uri="{BB962C8B-B14F-4D97-AF65-F5344CB8AC3E}">
        <p14:creationId xmlns:p14="http://schemas.microsoft.com/office/powerpoint/2010/main" val="301458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808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6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77F206F-BF81-4F5B-8639-4162DD059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93700" y="1100391"/>
            <a:ext cx="6337738" cy="14773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Product Manage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productmanagement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Sales, Business Development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sales@frauscher.com</a:t>
            </a:r>
          </a:p>
          <a:p>
            <a:pPr lvl="0"/>
            <a:endParaRPr lang="en-US" sz="1200" dirty="0">
              <a:solidFill>
                <a:schemeClr val="accent3"/>
              </a:solidFill>
              <a:latin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Marketing</a:t>
            </a:r>
          </a:p>
          <a:p>
            <a:pPr lvl="0"/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</a:rPr>
              <a:t>marketing@frauscher.com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3700" y="4249347"/>
            <a:ext cx="21035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www.frauscher.com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93700" y="627725"/>
            <a:ext cx="63377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dirty="0">
                <a:solidFill>
                  <a:schemeClr val="accent3"/>
                </a:solidFill>
                <a:latin typeface="+mn-lt"/>
              </a:rPr>
              <a:t>If you have any questions, please feel free to contact us: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FAB60F6-B42F-4B56-A609-B2778D7B6978}"/>
              </a:ext>
            </a:extLst>
          </p:cNvPr>
          <p:cNvCxnSpPr>
            <a:cxnSpLocks/>
          </p:cNvCxnSpPr>
          <p:nvPr userDrawn="1"/>
        </p:nvCxnSpPr>
        <p:spPr>
          <a:xfrm flipH="1">
            <a:off x="5705115" y="-16669"/>
            <a:ext cx="2967675" cy="517683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844685"/>
            <a:ext cx="2684206" cy="18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87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tags" Target="../tags/tag59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oleObject" Target="../embeddings/oleObject28.bin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tags" Target="../tags/tag60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59.xml"/><Relationship Id="rId41" Type="http://schemas.openxmlformats.org/officeDocument/2006/relationships/tags" Target="../tags/tag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tags" Target="../tags/tag116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tags" Target="../tags/tag11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tags" Target="../tags/tag114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theme" Target="../theme/theme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oleObject" Target="../embeddings/oleObject5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F1EC332-82F0-40BA-9BD0-111B40994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18992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383" imgH="384" progId="TCLayout.ActiveDocument.1">
                  <p:embed/>
                </p:oleObj>
              </mc:Choice>
              <mc:Fallback>
                <p:oleObj name="think-cell Folie" r:id="rId44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F1EC332-82F0-40BA-9BD0-111B40994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6A42D79-D86D-4309-9C23-EA7FD45EF73A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D3D9FFA2-3841-4146-88EE-0D147AEE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351409"/>
            <a:ext cx="835342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 dirty="0"/>
              <a:t>Click to edit 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26CA3A-D3DC-47EF-8CD2-CD403D50E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287" y="1153873"/>
            <a:ext cx="8353425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A6A3C9C-D9D3-4871-8896-A4485E3F0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7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F35C2A-7A10-4460-911B-013A51E5C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btfpLayoutConfig" hidden="1">
            <a:extLst>
              <a:ext uri="{FF2B5EF4-FFF2-40B4-BE49-F238E27FC236}">
                <a16:creationId xmlns:a16="http://schemas.microsoft.com/office/drawing/2014/main" id="{260A3D7C-BCE0-4405-969D-4C02A8D61E0A}"/>
              </a:ext>
            </a:extLst>
          </p:cNvPr>
          <p:cNvSpPr txBox="1"/>
          <p:nvPr userDrawn="1"/>
        </p:nvSpPr>
        <p:spPr>
          <a:xfrm>
            <a:off x="12700" y="12700"/>
            <a:ext cx="359073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070427347341893 columns_1_132070427347341893 </a:t>
            </a:r>
            <a:endParaRPr lang="en-GB" sz="100" dirty="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284171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  <p:sldLayoutId id="2147483750" r:id="rId38"/>
    <p:sldLayoutId id="2147483751" r:id="rId3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25365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253652"/>
          </a:solidFill>
          <a:latin typeface="+mn-lt"/>
          <a:ea typeface="+mn-ea"/>
          <a:cs typeface="+mn-cs"/>
        </a:defRPr>
      </a:lvl1pPr>
      <a:lvl2pPr marL="358775" indent="-17621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200" kern="1200" baseline="0">
          <a:solidFill>
            <a:srgbClr val="253652"/>
          </a:solidFill>
          <a:latin typeface="+mn-lt"/>
          <a:ea typeface="+mn-ea"/>
          <a:cs typeface="+mn-cs"/>
        </a:defRPr>
      </a:lvl2pPr>
      <a:lvl3pPr marL="541338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 baseline="0">
          <a:solidFill>
            <a:srgbClr val="253652"/>
          </a:solidFill>
          <a:latin typeface="+mn-lt"/>
          <a:ea typeface="+mn-ea"/>
          <a:cs typeface="+mn-cs"/>
        </a:defRPr>
      </a:lvl3pPr>
      <a:lvl4pPr marL="715963" indent="-174625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248">
          <p15:clr>
            <a:srgbClr val="F26B43"/>
          </p15:clr>
        </p15:guide>
        <p15:guide id="5" pos="551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F1EC332-82F0-40BA-9BD0-111B40994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865537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383" imgH="384" progId="TCLayout.ActiveDocument.1">
                  <p:embed/>
                </p:oleObj>
              </mc:Choice>
              <mc:Fallback>
                <p:oleObj name="think-cell Folie" r:id="rId44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F1EC332-82F0-40BA-9BD0-111B40994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6A42D79-D86D-4309-9C23-EA7FD45EF73A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D3D9FFA2-3841-4146-88EE-0D147AEE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351409"/>
            <a:ext cx="835342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 dirty="0"/>
              <a:t>Click to edit 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26CA3A-D3DC-47EF-8CD2-CD403D50E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287" y="1153873"/>
            <a:ext cx="8353425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A6A3C9C-D9D3-4871-8896-A4485E3F0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7" y="4973269"/>
            <a:ext cx="1474763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F35C2A-7A10-4460-911B-013A51E5C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btfpLayoutConfig" hidden="1">
            <a:extLst>
              <a:ext uri="{FF2B5EF4-FFF2-40B4-BE49-F238E27FC236}">
                <a16:creationId xmlns:a16="http://schemas.microsoft.com/office/drawing/2014/main" id="{260A3D7C-BCE0-4405-969D-4C02A8D61E0A}"/>
              </a:ext>
            </a:extLst>
          </p:cNvPr>
          <p:cNvSpPr txBox="1"/>
          <p:nvPr userDrawn="1"/>
        </p:nvSpPr>
        <p:spPr>
          <a:xfrm>
            <a:off x="12700" y="12700"/>
            <a:ext cx="359073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070427347341893 columns_1_132070427347341893 </a:t>
            </a:r>
            <a:endParaRPr lang="en-GB" sz="100" dirty="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119124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25365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253652"/>
          </a:solidFill>
          <a:latin typeface="+mn-lt"/>
          <a:ea typeface="+mn-ea"/>
          <a:cs typeface="+mn-cs"/>
        </a:defRPr>
      </a:lvl1pPr>
      <a:lvl2pPr marL="358775" indent="-17621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200" kern="1200" baseline="0">
          <a:solidFill>
            <a:srgbClr val="253652"/>
          </a:solidFill>
          <a:latin typeface="+mn-lt"/>
          <a:ea typeface="+mn-ea"/>
          <a:cs typeface="+mn-cs"/>
        </a:defRPr>
      </a:lvl2pPr>
      <a:lvl3pPr marL="541338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 baseline="0">
          <a:solidFill>
            <a:srgbClr val="253652"/>
          </a:solidFill>
          <a:latin typeface="+mn-lt"/>
          <a:ea typeface="+mn-ea"/>
          <a:cs typeface="+mn-cs"/>
        </a:defRPr>
      </a:lvl3pPr>
      <a:lvl4pPr marL="715963" indent="-174625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248">
          <p15:clr>
            <a:srgbClr val="F26B43"/>
          </p15:clr>
        </p15:guide>
        <p15:guide id="5" pos="55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F1EC332-82F0-40BA-9BD0-111B40994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32039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83" imgH="384" progId="TCLayout.ActiveDocument.1">
                  <p:embed/>
                </p:oleObj>
              </mc:Choice>
              <mc:Fallback>
                <p:oleObj name="think-cell Folie" r:id="rId27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F1EC332-82F0-40BA-9BD0-111B40994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6A42D79-D86D-4309-9C23-EA7FD45EF73A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D3D9FFA2-3841-4146-88EE-0D147AEE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351409"/>
            <a:ext cx="8353425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 dirty="0"/>
              <a:t>Click to edit 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26CA3A-D3DC-47EF-8CD2-CD403D50E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287" y="1153873"/>
            <a:ext cx="8353425" cy="32623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A6A3C9C-D9D3-4871-8896-A4485E3F0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7" y="4973269"/>
            <a:ext cx="146835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700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19 | Frauscher Sensor Technology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F35C2A-7A10-4460-911B-013A51E5C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7572" y="4973269"/>
            <a:ext cx="181140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00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btfpLayoutConfig" hidden="1">
            <a:extLst>
              <a:ext uri="{FF2B5EF4-FFF2-40B4-BE49-F238E27FC236}">
                <a16:creationId xmlns:a16="http://schemas.microsoft.com/office/drawing/2014/main" id="{260A3D7C-BCE0-4405-969D-4C02A8D61E0A}"/>
              </a:ext>
            </a:extLst>
          </p:cNvPr>
          <p:cNvSpPr txBox="1"/>
          <p:nvPr userDrawn="1"/>
        </p:nvSpPr>
        <p:spPr>
          <a:xfrm>
            <a:off x="12700" y="12700"/>
            <a:ext cx="359073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070427347341893 columns_1_132070427347341893 </a:t>
            </a:r>
            <a:endParaRPr lang="en-GB" sz="100" dirty="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empower - DO NOT DELETE!!!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1948315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25365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253652"/>
          </a:solidFill>
          <a:latin typeface="+mn-lt"/>
          <a:ea typeface="+mn-ea"/>
          <a:cs typeface="+mn-cs"/>
        </a:defRPr>
      </a:lvl1pPr>
      <a:lvl2pPr marL="358775" indent="-17621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200" kern="1200" baseline="0">
          <a:solidFill>
            <a:srgbClr val="253652"/>
          </a:solidFill>
          <a:latin typeface="+mn-lt"/>
          <a:ea typeface="+mn-ea"/>
          <a:cs typeface="+mn-cs"/>
        </a:defRPr>
      </a:lvl2pPr>
      <a:lvl3pPr marL="541338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 baseline="0">
          <a:solidFill>
            <a:srgbClr val="253652"/>
          </a:solidFill>
          <a:latin typeface="+mn-lt"/>
          <a:ea typeface="+mn-ea"/>
          <a:cs typeface="+mn-cs"/>
        </a:defRPr>
      </a:lvl3pPr>
      <a:lvl4pPr marL="715963" indent="-174625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600"/>
        </a:spcBef>
        <a:buFont typeface="Wingdings" panose="05000000000000000000" pitchFamily="2" charset="2"/>
        <a:buChar char="§"/>
        <a:defRPr sz="1000" kern="1200">
          <a:solidFill>
            <a:srgbClr val="25365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248">
          <p15:clr>
            <a:srgbClr val="F26B43"/>
          </p15:clr>
        </p15:guide>
        <p15:guide id="5" pos="55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nventionalcommits.org/en/v1.0.0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59910" y="2180069"/>
            <a:ext cx="5705990" cy="443198"/>
          </a:xfrm>
        </p:spPr>
        <p:txBody>
          <a:bodyPr/>
          <a:lstStyle/>
          <a:p>
            <a:r>
              <a:rPr lang="en-GB" dirty="0"/>
              <a:t>Elevator</a:t>
            </a:r>
            <a:endParaRPr lang="de-AT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649400" y="4911056"/>
            <a:ext cx="1280800" cy="123111"/>
          </a:xfrm>
        </p:spPr>
        <p:txBody>
          <a:bodyPr/>
          <a:lstStyle/>
          <a:p>
            <a:r>
              <a:rPr lang="de-AT" sz="800" dirty="0">
                <a:solidFill>
                  <a:schemeClr val="bg1"/>
                </a:solidFill>
              </a:rPr>
              <a:t>08.01.2025 | FH Hagenber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8415D9-F8E7-4F33-9034-949CBE4F9C8B}"/>
              </a:ext>
            </a:extLst>
          </p:cNvPr>
          <p:cNvSpPr txBox="1">
            <a:spLocks/>
          </p:cNvSpPr>
          <p:nvPr/>
        </p:nvSpPr>
        <p:spPr>
          <a:xfrm>
            <a:off x="794820" y="2946569"/>
            <a:ext cx="8205152" cy="19389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Maximilian </a:t>
            </a:r>
            <a:r>
              <a:rPr lang="en-GB" dirty="0" err="1">
                <a:solidFill>
                  <a:schemeClr val="bg1"/>
                </a:solidFill>
              </a:rPr>
              <a:t>Bauernfeind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imon </a:t>
            </a:r>
            <a:r>
              <a:rPr lang="en-GB" dirty="0" err="1">
                <a:solidFill>
                  <a:schemeClr val="bg1"/>
                </a:solidFill>
              </a:rPr>
              <a:t>Stellnberger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David Goldberger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C4E43B8-95C1-8254-3694-A11402CF0BB3}"/>
              </a:ext>
            </a:extLst>
          </p:cNvPr>
          <p:cNvSpPr/>
          <p:nvPr/>
        </p:nvSpPr>
        <p:spPr>
          <a:xfrm>
            <a:off x="649400" y="1085850"/>
            <a:ext cx="3865450" cy="603250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</p:spTree>
    <p:extLst>
      <p:ext uri="{BB962C8B-B14F-4D97-AF65-F5344CB8AC3E}">
        <p14:creationId xmlns:p14="http://schemas.microsoft.com/office/powerpoint/2010/main" val="35909254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49481-8AB0-839F-2FA0-C6470B9B5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B6E8E1-0E41-C754-77C4-9E4CF9889F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80694B-9AB2-4CCB-1789-9FB9F90CD3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0F6A78-F4AF-A0A0-228F-520444C2A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de Coverag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6D2EB6AC-727E-7329-8859-F1107EB6933C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F6AF91B-DF7B-3511-6582-1E29DB66331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8942ED3D-652A-E976-725E-D00118B1F04A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D749603-0970-E0FF-3ECB-2A674F3A49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481" y="1311274"/>
            <a:ext cx="3495783" cy="192501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352A931-E76D-AD82-6B86-6EE276BFC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736" y="1335273"/>
            <a:ext cx="5163992" cy="91633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C1F4205-8C39-AAA2-1F87-0C079D6DCD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125" y="2334171"/>
            <a:ext cx="5163603" cy="125190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A75E963-3C0A-D20C-8C9B-DC7F82C67E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125" y="3665849"/>
            <a:ext cx="5163602" cy="117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45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D29843-4098-7A97-2993-E2F8162D2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C32C50-D9E1-A77F-41CA-CC7E4C9E8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2B59478-010A-C3DA-C33A-D5486CE559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B6E58B-E55A-788F-A9D6-460B04F4C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nar Cloud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E1021D75-2DC3-AD2F-4BEC-A24D152E9D8F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AED7257-8B3E-46E7-2EFC-C63D6B42EBE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AT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30AF2FD-FC58-3785-4E37-2C1B0C158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127" y="1257997"/>
            <a:ext cx="8193857" cy="3385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0855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69D1E-1D46-3172-B6AF-CB736A20F3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76B282-50D7-75B2-67B4-3D7D4AF00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25632C3-CB97-FBA3-5A32-36309D75C5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87E676-38B9-0A6D-59D0-7A15F1736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de-DE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CA1DC23-DE14-AA52-F30E-9CF1FC88AC85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25856D0-8D70-CF23-2DF0-63DD63EFFB6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40214212-E6B7-1117-3D00-E4C4CB8C5FCA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r>
              <a:rPr lang="en-GB" dirty="0"/>
              <a:t>- model based testing</a:t>
            </a:r>
          </a:p>
          <a:p>
            <a:pPr marL="0" indent="-4763">
              <a:buNone/>
            </a:pPr>
            <a:r>
              <a:rPr lang="en-GB" dirty="0"/>
              <a:t>- mocking – docker/</a:t>
            </a:r>
            <a:r>
              <a:rPr lang="en-GB" dirty="0" err="1"/>
              <a:t>mqtt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- CI/CD pipeline</a:t>
            </a:r>
          </a:p>
          <a:p>
            <a:pPr marL="0" indent="0">
              <a:buNone/>
            </a:pPr>
            <a:r>
              <a:rPr lang="en-GB" dirty="0"/>
              <a:t>- pair programming</a:t>
            </a:r>
            <a:br>
              <a:rPr lang="en-GB" dirty="0"/>
            </a:br>
            <a:r>
              <a:rPr lang="en-GB" dirty="0"/>
              <a:t>- Java 😥</a:t>
            </a:r>
          </a:p>
          <a:p>
            <a:pPr marL="0" indent="-4763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234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714842-DCCA-B4B3-8632-35F032CF28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6B3B5E-2297-5E30-0E67-9B96FA8F1B60}"/>
              </a:ext>
            </a:extLst>
          </p:cNvPr>
          <p:cNvSpPr txBox="1">
            <a:spLocks/>
          </p:cNvSpPr>
          <p:nvPr/>
        </p:nvSpPr>
        <p:spPr>
          <a:xfrm>
            <a:off x="395286" y="1027211"/>
            <a:ext cx="5521325" cy="238956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E91390D-AE71-BC8A-8CD0-B83790131AF3}"/>
              </a:ext>
            </a:extLst>
          </p:cNvPr>
          <p:cNvSpPr txBox="1">
            <a:spLocks/>
          </p:cNvSpPr>
          <p:nvPr/>
        </p:nvSpPr>
        <p:spPr>
          <a:xfrm>
            <a:off x="304717" y="300202"/>
            <a:ext cx="7507917" cy="54355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5365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330CC3B-83F4-D7D7-B6C2-7EB3D55C00FA}"/>
              </a:ext>
            </a:extLst>
          </p:cNvPr>
          <p:cNvSpPr/>
          <p:nvPr/>
        </p:nvSpPr>
        <p:spPr>
          <a:xfrm>
            <a:off x="304717" y="3567165"/>
            <a:ext cx="2971046" cy="1105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</p:spTree>
    <p:extLst>
      <p:ext uri="{BB962C8B-B14F-4D97-AF65-F5344CB8AC3E}">
        <p14:creationId xmlns:p14="http://schemas.microsoft.com/office/powerpoint/2010/main" val="91985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F6FFA7-E262-4B42-A34A-C48A64093E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254680-6767-4DFD-95F8-8A1BC5F14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D054C2-0DFA-43D2-B249-7C03A8739B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1B89C8-0941-48A4-881D-F720D5B12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rchitecture</a:t>
            </a:r>
          </a:p>
          <a:p>
            <a:r>
              <a:rPr lang="de-DE" dirty="0"/>
              <a:t>Live Demonstration /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Code</a:t>
            </a:r>
          </a:p>
          <a:p>
            <a:r>
              <a:rPr lang="de-DE" dirty="0"/>
              <a:t>Quality Checks</a:t>
            </a:r>
          </a:p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0669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254680-6767-4DFD-95F8-8A1BC5F14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3ED7149-51C8-9906-C987-CC5661542E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D054C2-0DFA-43D2-B249-7C03A8739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ctur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2BB5808A-1D25-BC69-3B3A-FEC071A6EE3D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54AB2FB-E2AC-BB90-EE8E-AB7BB4A87FF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Adapter</a:t>
            </a:r>
            <a:endParaRPr lang="de-AT" dirty="0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93ABEBAA-5C91-435E-9618-A59DC7BB319D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endParaRPr lang="en-GB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94C5276-4D1A-82EB-9394-CD4CCD6556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965" y="1799130"/>
            <a:ext cx="3313415" cy="2468724"/>
          </a:xfrm>
          <a:prstGeom prst="rect">
            <a:avLst/>
          </a:prstGeom>
        </p:spPr>
      </p:pic>
      <p:pic>
        <p:nvPicPr>
          <p:cNvPr id="21" name="Grafik 20" descr="Ein Bild, das Screenshot, Text, Diagramm, Design enthält.&#10;&#10;Automatisch generierte Beschreibung">
            <a:extLst>
              <a:ext uri="{FF2B5EF4-FFF2-40B4-BE49-F238E27FC236}">
                <a16:creationId xmlns:a16="http://schemas.microsoft.com/office/drawing/2014/main" id="{96252C5F-1026-B0B2-A9D7-CE57964716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86" y="1311274"/>
            <a:ext cx="4849771" cy="3480817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AEF80140-B212-E871-25DC-74CEE4AFB6D0}"/>
              </a:ext>
            </a:extLst>
          </p:cNvPr>
          <p:cNvSpPr/>
          <p:nvPr/>
        </p:nvSpPr>
        <p:spPr>
          <a:xfrm>
            <a:off x="5685453" y="2519265"/>
            <a:ext cx="957943" cy="615821"/>
          </a:xfrm>
          <a:prstGeom prst="rect">
            <a:avLst/>
          </a:prstGeom>
          <a:noFill/>
          <a:ln w="222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</p:spTree>
    <p:extLst>
      <p:ext uri="{BB962C8B-B14F-4D97-AF65-F5344CB8AC3E}">
        <p14:creationId xmlns:p14="http://schemas.microsoft.com/office/powerpoint/2010/main" val="1867152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1FFE5F-278F-DCD7-3960-B1944FBFD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297C80-CDD4-01FA-5DD7-7242BA820E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E46B71-6C35-6426-0042-77DB36ED01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B30A3A9-7071-167F-1C8E-5281AAADD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chitectur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6437D155-B27F-8702-45F5-0139FF39F578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EAE3B9A-06C6-0917-B6FE-6AF7B7AB87F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Algorithm</a:t>
            </a:r>
            <a:endParaRPr lang="de-AT" dirty="0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8ED3F6EA-D2CB-6D42-8AE4-83303299E39B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endParaRPr lang="en-GB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D912D66-CA79-C7AC-F62D-02AEF4A2C0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965" y="1799130"/>
            <a:ext cx="3313415" cy="2468724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8797C45-817D-E583-28D6-97B1B7E1A358}"/>
              </a:ext>
            </a:extLst>
          </p:cNvPr>
          <p:cNvSpPr/>
          <p:nvPr/>
        </p:nvSpPr>
        <p:spPr>
          <a:xfrm>
            <a:off x="7184572" y="3225608"/>
            <a:ext cx="901960" cy="562622"/>
          </a:xfrm>
          <a:prstGeom prst="rect">
            <a:avLst/>
          </a:prstGeom>
          <a:noFill/>
          <a:ln w="222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de-AT" sz="1400" dirty="0" err="1"/>
          </a:p>
        </p:txBody>
      </p:sp>
      <p:pic>
        <p:nvPicPr>
          <p:cNvPr id="8" name="Grafik 7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E432D6E8-A422-4DFF-CF6F-416B3DA6B5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87" y="1320083"/>
            <a:ext cx="4899135" cy="331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74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911A3C-A005-526E-6EC6-30A4BA4D4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CE26B7-2CD0-FD3C-8FAE-D46DF7A5D2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DBDD0D-69C3-2FCA-0615-419A7B53B2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1DFFC1D-4FF3-21CB-4A41-3E610CA8E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ve Demo</a:t>
            </a:r>
            <a:endParaRPr lang="de-DE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4DC2145B-83DF-FD65-6E70-78BA5ED147AF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6E52860-9A4A-9839-5004-947758777B1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08273C24-BE3F-1110-188A-F98F314F50C2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151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0D4B1-E312-7375-E971-1A07716AB5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9FA988-A7A5-857D-F79A-1D394314C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2FCD010-B524-5F08-CAAE-B89B76DC07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39714D6-101E-CD19-3611-F529711A6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Checks</a:t>
            </a:r>
            <a:endParaRPr lang="de-DE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9B40ABD-4A5D-FA42-5DEB-12711882A4B8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380BA3D-3D7C-3195-B4A8-7182344E78D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Git Workflow</a:t>
            </a:r>
            <a:endParaRPr lang="de-AT" dirty="0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F1111689-DF47-FFC4-F532-7CB85057BE3A}"/>
              </a:ext>
            </a:extLst>
          </p:cNvPr>
          <p:cNvSpPr txBox="1">
            <a:spLocks/>
          </p:cNvSpPr>
          <p:nvPr/>
        </p:nvSpPr>
        <p:spPr>
          <a:xfrm>
            <a:off x="395285" y="1311274"/>
            <a:ext cx="7125187" cy="3661995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r>
              <a:rPr lang="en-GB" u="sng" dirty="0"/>
              <a:t>Branches</a:t>
            </a:r>
            <a:r>
              <a:rPr lang="en-GB" dirty="0"/>
              <a:t> </a:t>
            </a:r>
          </a:p>
          <a:p>
            <a:pPr marL="0" indent="-4763">
              <a:buNone/>
            </a:pPr>
            <a:r>
              <a:rPr lang="en-GB" dirty="0"/>
              <a:t> - main: the main branch, where only functional code is contained.</a:t>
            </a:r>
          </a:p>
          <a:p>
            <a:pPr marL="0" indent="-4763">
              <a:buNone/>
            </a:pPr>
            <a:r>
              <a:rPr lang="en-GB" dirty="0"/>
              <a:t> - feature/name: for new features. Contains the name of the owner and the topic</a:t>
            </a:r>
          </a:p>
          <a:p>
            <a:pPr marL="0" indent="-4763">
              <a:buNone/>
            </a:pPr>
            <a:r>
              <a:rPr lang="en-GB" dirty="0"/>
              <a:t> - test/name: for tests </a:t>
            </a:r>
          </a:p>
          <a:p>
            <a:pPr marL="0" indent="-4763">
              <a:buNone/>
            </a:pPr>
            <a:r>
              <a:rPr lang="en-GB" dirty="0"/>
              <a:t> - fix[/name]: for bug fixes.</a:t>
            </a:r>
          </a:p>
          <a:p>
            <a:pPr marL="0" indent="-4763">
              <a:buNone/>
            </a:pPr>
            <a:endParaRPr lang="en-GB" sz="800" dirty="0"/>
          </a:p>
          <a:p>
            <a:pPr marL="0" indent="-4763">
              <a:buNone/>
            </a:pPr>
            <a:r>
              <a:rPr lang="en-GB" u="sng" dirty="0"/>
              <a:t>Commit Messages:</a:t>
            </a:r>
          </a:p>
          <a:p>
            <a:pPr marL="0" indent="-4763">
              <a:buNone/>
            </a:pPr>
            <a:r>
              <a:rPr lang="en-GB" dirty="0">
                <a:solidFill>
                  <a:srgbClr val="333333"/>
                </a:solidFill>
                <a:latin typeface="Helvetica Neue"/>
              </a:rPr>
              <a:t>- r</a:t>
            </a:r>
            <a:r>
              <a:rPr lang="en-GB" b="0" i="0" dirty="0">
                <a:solidFill>
                  <a:srgbClr val="333333"/>
                </a:solidFill>
                <a:effectLst/>
                <a:latin typeface="Helvetica Neue"/>
              </a:rPr>
              <a:t>elay on the rules from </a:t>
            </a:r>
            <a:r>
              <a:rPr lang="en-GB" b="0" i="0" u="none" strike="noStrike" dirty="0">
                <a:solidFill>
                  <a:srgbClr val="0088CC"/>
                </a:solidFill>
                <a:effectLst/>
                <a:latin typeface="Helvetica Neue"/>
                <a:hlinkClick r:id="rId3"/>
              </a:rPr>
              <a:t>conventionalcommits.org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- &lt;type&gt;[optional scope]: &lt;description&gt;</a:t>
            </a:r>
          </a:p>
          <a:p>
            <a:pPr marL="280987" indent="-285750">
              <a:buFontTx/>
              <a:buChar char="-"/>
            </a:pPr>
            <a:endParaRPr lang="en-GB" sz="1000" dirty="0"/>
          </a:p>
          <a:p>
            <a:pPr marL="0" indent="-4763">
              <a:buNone/>
            </a:pPr>
            <a:r>
              <a:rPr lang="en-GB" u="sng" dirty="0"/>
              <a:t>Pull Requests</a:t>
            </a:r>
          </a:p>
          <a:p>
            <a:pPr marL="0" indent="0">
              <a:buNone/>
            </a:pPr>
            <a:r>
              <a:rPr lang="en-GB" dirty="0"/>
              <a:t>- no direct commit/push on master</a:t>
            </a:r>
          </a:p>
          <a:p>
            <a:pPr marL="0" indent="0">
              <a:buNone/>
            </a:pPr>
            <a:r>
              <a:rPr lang="en-GB" dirty="0"/>
              <a:t>- pull requests for all branches</a:t>
            </a:r>
          </a:p>
          <a:p>
            <a:pPr marL="0" indent="0">
              <a:buNone/>
            </a:pPr>
            <a:r>
              <a:rPr lang="en-GB" dirty="0"/>
              <a:t>- Pair programming: no reviews necessary </a:t>
            </a:r>
          </a:p>
          <a:p>
            <a:pPr marL="0" indent="-4763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917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A95DAC-F1BD-828C-3ACC-7266755B89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AB00C1-C485-6186-7036-6696F25DF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D030EC9-C4D3-7372-B575-F4E3E9ECAA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B98C4D-C64D-6784-7F6C-F772E111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Checks</a:t>
            </a:r>
            <a:endParaRPr lang="de-DE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E446B7D1-E31D-0D4A-EABE-18ADB2B9523B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7E66F0D-3697-0FF2-35A1-D9EC047705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Test concept</a:t>
            </a:r>
            <a:endParaRPr lang="de-AT" dirty="0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2BE36B24-D449-0746-C531-8925EE2A47A0}"/>
              </a:ext>
            </a:extLst>
          </p:cNvPr>
          <p:cNvSpPr txBox="1">
            <a:spLocks/>
          </p:cNvSpPr>
          <p:nvPr/>
        </p:nvSpPr>
        <p:spPr>
          <a:xfrm>
            <a:off x="395285" y="1311274"/>
            <a:ext cx="7125187" cy="36619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r>
              <a:rPr lang="en-GB" u="sng" dirty="0"/>
              <a:t>Different Test kinds</a:t>
            </a:r>
          </a:p>
          <a:p>
            <a:pPr marL="0" indent="0">
              <a:buNone/>
            </a:pPr>
            <a:r>
              <a:rPr lang="en-GB" dirty="0"/>
              <a:t>- unit tests</a:t>
            </a:r>
          </a:p>
          <a:p>
            <a:pPr marL="0" indent="0">
              <a:buNone/>
            </a:pPr>
            <a:r>
              <a:rPr lang="en-GB" dirty="0"/>
              <a:t>- integration tests</a:t>
            </a:r>
          </a:p>
          <a:p>
            <a:pPr marL="0" indent="0">
              <a:buNone/>
            </a:pPr>
            <a:r>
              <a:rPr lang="en-GB" dirty="0"/>
              <a:t>- model based tests (automatic)</a:t>
            </a:r>
            <a:br>
              <a:rPr lang="en-GB" dirty="0"/>
            </a:br>
            <a:r>
              <a:rPr lang="en-GB" dirty="0"/>
              <a:t>- manual functional system test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872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3D86F-3C6B-AA75-293E-4CD06A3DA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D6C424-C12F-4BD6-05F8-B5C67C5A0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6E5DC6F-26A0-8516-EEF4-56C6413116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94531F-330F-E77D-9DEF-C4B1F9CCD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Checks</a:t>
            </a:r>
            <a:endParaRPr lang="de-DE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2E6A1FAE-A132-B888-F244-5E075D60707C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49AA29-2742-E879-1407-89A36E563C2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CI/CD</a:t>
            </a:r>
            <a:endParaRPr lang="de-AT" dirty="0"/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6B95E32C-0002-9FF5-7C60-E45118F66E1D}"/>
              </a:ext>
            </a:extLst>
          </p:cNvPr>
          <p:cNvSpPr txBox="1">
            <a:spLocks/>
          </p:cNvSpPr>
          <p:nvPr/>
        </p:nvSpPr>
        <p:spPr>
          <a:xfrm>
            <a:off x="395285" y="1093716"/>
            <a:ext cx="7125187" cy="387955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r>
              <a:rPr lang="de-AT" dirty="0" err="1"/>
              <a:t>Continuous</a:t>
            </a:r>
            <a:r>
              <a:rPr lang="de-AT" dirty="0"/>
              <a:t> </a:t>
            </a:r>
            <a:r>
              <a:rPr lang="de-AT" dirty="0" err="1"/>
              <a:t>checks</a:t>
            </a:r>
            <a:r>
              <a:rPr lang="de-AT" dirty="0"/>
              <a:t> via </a:t>
            </a:r>
            <a:r>
              <a:rPr lang="de-AT" dirty="0" err="1"/>
              <a:t>github</a:t>
            </a:r>
            <a:r>
              <a:rPr lang="de-AT" dirty="0"/>
              <a:t> </a:t>
            </a:r>
            <a:r>
              <a:rPr lang="de-AT" dirty="0" err="1"/>
              <a:t>actions</a:t>
            </a:r>
            <a:endParaRPr lang="de-AT" dirty="0"/>
          </a:p>
          <a:p>
            <a:pPr marL="0" indent="0">
              <a:buNone/>
            </a:pPr>
            <a:r>
              <a:rPr lang="de-AT" dirty="0"/>
              <a:t>- </a:t>
            </a:r>
            <a:r>
              <a:rPr lang="de-AT" dirty="0" err="1"/>
              <a:t>checks</a:t>
            </a:r>
            <a:r>
              <a:rPr lang="de-AT" dirty="0"/>
              <a:t> at </a:t>
            </a:r>
            <a:r>
              <a:rPr lang="de-AT" dirty="0" err="1"/>
              <a:t>every</a:t>
            </a:r>
            <a:r>
              <a:rPr lang="de-AT" dirty="0"/>
              <a:t> pull </a:t>
            </a:r>
            <a:r>
              <a:rPr lang="de-AT" dirty="0" err="1"/>
              <a:t>request</a:t>
            </a:r>
            <a:r>
              <a:rPr lang="de-AT" dirty="0"/>
              <a:t> on </a:t>
            </a:r>
            <a:r>
              <a:rPr lang="de-AT" dirty="0" err="1"/>
              <a:t>master</a:t>
            </a:r>
            <a:r>
              <a:rPr lang="de-AT" dirty="0"/>
              <a:t> </a:t>
            </a:r>
            <a:r>
              <a:rPr lang="de-AT" dirty="0" err="1"/>
              <a:t>branch</a:t>
            </a:r>
            <a:r>
              <a:rPr lang="de-AT" dirty="0"/>
              <a:t>. </a:t>
            </a:r>
          </a:p>
          <a:p>
            <a:pPr marL="0" indent="-4763">
              <a:buNone/>
            </a:pPr>
            <a:endParaRPr lang="de-AT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274467A-388A-1C99-588F-372AD22B33B7}"/>
              </a:ext>
            </a:extLst>
          </p:cNvPr>
          <p:cNvSpPr/>
          <p:nvPr/>
        </p:nvSpPr>
        <p:spPr>
          <a:xfrm>
            <a:off x="5242789" y="1518318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fetch</a:t>
            </a:r>
            <a:endParaRPr lang="de-AT" sz="14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32CF77-A4AA-9D08-54BF-9636F9D10406}"/>
              </a:ext>
            </a:extLst>
          </p:cNvPr>
          <p:cNvSpPr/>
          <p:nvPr/>
        </p:nvSpPr>
        <p:spPr>
          <a:xfrm>
            <a:off x="5242789" y="2326221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build</a:t>
            </a:r>
            <a:endParaRPr lang="de-AT" sz="14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40A17F-0D35-3499-EB9A-D353B5ABE99B}"/>
              </a:ext>
            </a:extLst>
          </p:cNvPr>
          <p:cNvSpPr/>
          <p:nvPr/>
        </p:nvSpPr>
        <p:spPr>
          <a:xfrm>
            <a:off x="7307451" y="2326220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.jar files</a:t>
            </a:r>
            <a:endParaRPr lang="de-AT" sz="14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87FFCDD-E261-9CD7-5033-0F990200C44D}"/>
              </a:ext>
            </a:extLst>
          </p:cNvPr>
          <p:cNvSpPr/>
          <p:nvPr/>
        </p:nvSpPr>
        <p:spPr>
          <a:xfrm>
            <a:off x="5242789" y="3134124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test</a:t>
            </a:r>
            <a:endParaRPr lang="de-AT" sz="14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13FA646-567F-9180-B58E-10AC09B4E01A}"/>
              </a:ext>
            </a:extLst>
          </p:cNvPr>
          <p:cNvSpPr/>
          <p:nvPr/>
        </p:nvSpPr>
        <p:spPr>
          <a:xfrm>
            <a:off x="5242789" y="3932426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err="1"/>
              <a:t>jacoco</a:t>
            </a:r>
            <a:endParaRPr lang="de-AT" sz="14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822339D-49A7-F7E2-75CC-EA37F21D277E}"/>
              </a:ext>
            </a:extLst>
          </p:cNvPr>
          <p:cNvSpPr/>
          <p:nvPr/>
        </p:nvSpPr>
        <p:spPr>
          <a:xfrm>
            <a:off x="7307451" y="3134124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test output</a:t>
            </a:r>
            <a:endParaRPr lang="de-AT" sz="14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E9DAD6F-F72D-E3FA-CEB8-948D6E040AD2}"/>
              </a:ext>
            </a:extLst>
          </p:cNvPr>
          <p:cNvSpPr/>
          <p:nvPr/>
        </p:nvSpPr>
        <p:spPr>
          <a:xfrm>
            <a:off x="7307451" y="3925696"/>
            <a:ext cx="1543676" cy="436661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coverage</a:t>
            </a:r>
            <a:endParaRPr lang="de-AT" sz="1400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1193C32-9CD0-AE95-1AE2-6D16DC749D12}"/>
              </a:ext>
            </a:extLst>
          </p:cNvPr>
          <p:cNvCxnSpPr>
            <a:stCxn id="7" idx="2"/>
            <a:endCxn id="8" idx="0"/>
          </p:cNvCxnSpPr>
          <p:nvPr/>
        </p:nvCxnSpPr>
        <p:spPr>
          <a:xfrm>
            <a:off x="6014627" y="1954979"/>
            <a:ext cx="0" cy="371242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5133F96-3CCB-766C-3E21-2C0B8274348F}"/>
              </a:ext>
            </a:extLst>
          </p:cNvPr>
          <p:cNvCxnSpPr/>
          <p:nvPr/>
        </p:nvCxnSpPr>
        <p:spPr>
          <a:xfrm>
            <a:off x="6014627" y="2762882"/>
            <a:ext cx="0" cy="371242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7FBB2A18-0C39-E1A4-44E1-E710E121F7D2}"/>
              </a:ext>
            </a:extLst>
          </p:cNvPr>
          <p:cNvCxnSpPr/>
          <p:nvPr/>
        </p:nvCxnSpPr>
        <p:spPr>
          <a:xfrm>
            <a:off x="6014627" y="3570785"/>
            <a:ext cx="0" cy="371242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4EB5CCE-7FBE-4EEE-39D7-0D444A0EF055}"/>
              </a:ext>
            </a:extLst>
          </p:cNvPr>
          <p:cNvCxnSpPr>
            <a:stCxn id="8" idx="3"/>
            <a:endCxn id="9" idx="1"/>
          </p:cNvCxnSpPr>
          <p:nvPr/>
        </p:nvCxnSpPr>
        <p:spPr>
          <a:xfrm flipV="1">
            <a:off x="6786465" y="2544551"/>
            <a:ext cx="520986" cy="1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EF79D9BD-1B77-3DC7-65B3-972F31315552}"/>
              </a:ext>
            </a:extLst>
          </p:cNvPr>
          <p:cNvCxnSpPr>
            <a:endCxn id="15" idx="1"/>
          </p:cNvCxnSpPr>
          <p:nvPr/>
        </p:nvCxnSpPr>
        <p:spPr>
          <a:xfrm>
            <a:off x="6841433" y="3351683"/>
            <a:ext cx="466018" cy="772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9A721EE-6AFB-E9F6-C2BA-469F452B948B}"/>
              </a:ext>
            </a:extLst>
          </p:cNvPr>
          <p:cNvCxnSpPr>
            <a:stCxn id="12" idx="3"/>
            <a:endCxn id="17" idx="1"/>
          </p:cNvCxnSpPr>
          <p:nvPr/>
        </p:nvCxnSpPr>
        <p:spPr>
          <a:xfrm flipV="1">
            <a:off x="6786465" y="4144027"/>
            <a:ext cx="520986" cy="673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>
            <a:extLst>
              <a:ext uri="{FF2B5EF4-FFF2-40B4-BE49-F238E27FC236}">
                <a16:creationId xmlns:a16="http://schemas.microsoft.com/office/drawing/2014/main" id="{EF494E7B-E1E0-25DF-647B-558DB80062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52" y="3134124"/>
            <a:ext cx="3862847" cy="195216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A4C2249B-B69F-C120-F1D3-8BE6A04ED41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7353" b="11823"/>
          <a:stretch/>
        </p:blipFill>
        <p:spPr>
          <a:xfrm>
            <a:off x="666410" y="1795200"/>
            <a:ext cx="3458746" cy="12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16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101AC-4053-DCB7-F888-A06CE6369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2DE88B-1DEC-0B7D-8BD7-3882DF9FCE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5904A2-840A-42F6-8494-12E8BF2DB00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B792089-9CD5-1D98-8E8D-D69D12CA7F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12F4CE-50C8-8A80-940C-26B349398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nual </a:t>
            </a:r>
            <a:r>
              <a:rPr lang="de-DE" dirty="0" err="1"/>
              <a:t>Function</a:t>
            </a:r>
            <a:r>
              <a:rPr lang="de-DE" dirty="0"/>
              <a:t> Test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4099CAF3-92AA-D4B6-12E2-5CD4F118B275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7883890" cy="34808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pic>
        <p:nvPicPr>
          <p:cNvPr id="7" name="Inhaltsplatzhalter 6" descr="Ein Bild, das Text, Screenshot, Display, Software enthält.&#10;&#10;Automatisch generierte Beschreibung">
            <a:extLst>
              <a:ext uri="{FF2B5EF4-FFF2-40B4-BE49-F238E27FC236}">
                <a16:creationId xmlns:a16="http://schemas.microsoft.com/office/drawing/2014/main" id="{F9194AA7-EC9B-1741-B367-E3ECCB9A6785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3223312" y="2021633"/>
            <a:ext cx="2176469" cy="2590031"/>
          </a:xfrm>
        </p:spPr>
      </p:pic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F0F181E4-8353-73F2-E580-650993F01268}"/>
              </a:ext>
            </a:extLst>
          </p:cNvPr>
          <p:cNvSpPr txBox="1">
            <a:spLocks/>
          </p:cNvSpPr>
          <p:nvPr/>
        </p:nvSpPr>
        <p:spPr>
          <a:xfrm>
            <a:off x="395286" y="1311274"/>
            <a:ext cx="4593274" cy="22720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4763">
              <a:buNone/>
            </a:pPr>
            <a:r>
              <a:rPr lang="en-GB" dirty="0"/>
              <a:t>- test executed manually on own pc</a:t>
            </a:r>
          </a:p>
          <a:p>
            <a:pPr marL="0" indent="-4763">
              <a:buNone/>
            </a:pPr>
            <a:r>
              <a:rPr lang="en-GB" dirty="0"/>
              <a:t>- no errors after ~1h test</a:t>
            </a:r>
          </a:p>
          <a:p>
            <a:pPr marL="0" indent="-4763">
              <a:buNone/>
            </a:pPr>
            <a:r>
              <a:rPr lang="en-GB" dirty="0"/>
              <a:t>- max waiting time ~5min </a:t>
            </a:r>
          </a:p>
        </p:txBody>
      </p:sp>
      <p:pic>
        <p:nvPicPr>
          <p:cNvPr id="9" name="Grafik 8" descr="Ein Bild, das Text, Screenshot, Display, Software enthält.&#10;&#10;Automatisch generierte Beschreibung">
            <a:extLst>
              <a:ext uri="{FF2B5EF4-FFF2-40B4-BE49-F238E27FC236}">
                <a16:creationId xmlns:a16="http://schemas.microsoft.com/office/drawing/2014/main" id="{072CBE0B-FA26-D517-93EE-F9C245EDF3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7909" y="2038927"/>
            <a:ext cx="2176470" cy="2572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858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2057&quot; FormatString=&quot;dd/MM/yyyy&quot; /&gt;&lt;/MekkoFormats&gt;"/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tGmj4e9.kJq_gKECk_W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4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71932bd2-eafd-4be0-aed2-fd4d13b02736"/>
  <p:tag name="MIO_UPDATE" val="True"/>
  <p:tag name="MIO_VERSION" val="13.08.2019 16:29:45"/>
  <p:tag name="MIO_DBID" val="07E85DC8-9F3E-46DD-BC6B-C21ACC004493"/>
  <p:tag name="MIO_LASTDOWNLOADED" val="13.08.2019 16:29:45"/>
  <p:tag name="MIO_OBJECTNAME" val="Master Frauscher new"/>
  <p:tag name="MIO_LASTEDITORNAME" val="Christiane Stammler"/>
  <p:tag name="MIO_CDID" val="451eeb19-c04f-4baa-b219-473a5b7aed7c"/>
  <p:tag name="MIO_PRESI_FIRST_SLIDENUMBER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fAjrfzQp0iOKyxEAK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tGmj4e9.kJq_gKECk_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4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71932bd2-eafd-4be0-aed2-fd4d13b02736"/>
  <p:tag name="MIO_UPDATE" val="True"/>
  <p:tag name="MIO_VERSION" val="13.08.2019 16:29:45"/>
  <p:tag name="MIO_DBID" val="07E85DC8-9F3E-46DD-BC6B-C21ACC004493"/>
  <p:tag name="MIO_LASTDOWNLOADED" val="13.08.2019 16:29:45"/>
  <p:tag name="MIO_OBJECTNAME" val="Master Frauscher new"/>
  <p:tag name="MIO_LASTEDITORNAME" val="Christiane Stammler"/>
  <p:tag name="MIO_CDID" val="451eeb19-c04f-4baa-b219-473a5b7aed7c"/>
  <p:tag name="MIO_PRESI_FIRST_SLIDENUMB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tGmj4e9.kJq_gKECk_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4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71932bd2-eafd-4be0-aed2-fd4d13b02736"/>
  <p:tag name="MIO_UPDATE" val="True"/>
  <p:tag name="MIO_VERSION" val="13.08.2019 16:29:45"/>
  <p:tag name="MIO_DBID" val="07E85DC8-9F3E-46DD-BC6B-C21ACC004493"/>
  <p:tag name="MIO_LASTDOWNLOADED" val="13.08.2019 16:29:45"/>
  <p:tag name="MIO_OBJECTNAME" val="Master Frauscher new"/>
  <p:tag name="MIO_LASTEDITORNAME" val="Christiane Stammler"/>
  <p:tag name="MIO_CDID" val="451eeb19-c04f-4baa-b219-473a5b7aed7c"/>
  <p:tag name="MIO_PRESI_FIRST_SLIDENUMB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fAjrfzQp0iOKyxEAKB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fAjrfzQp0iOKyxEAK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heme/theme1.xml><?xml version="1.0" encoding="utf-8"?>
<a:theme xmlns:a="http://schemas.openxmlformats.org/drawingml/2006/main" name="1_Office">
  <a:themeElements>
    <a:clrScheme name="Frauscher CD2019 - Word, Excel">
      <a:dk1>
        <a:srgbClr val="000000"/>
      </a:dk1>
      <a:lt1>
        <a:sysClr val="window" lastClr="FFFFFF"/>
      </a:lt1>
      <a:dk2>
        <a:srgbClr val="253652"/>
      </a:dk2>
      <a:lt2>
        <a:srgbClr val="DADEE1"/>
      </a:lt2>
      <a:accent1>
        <a:srgbClr val="006D7E"/>
      </a:accent1>
      <a:accent2>
        <a:srgbClr val="3CB7AA"/>
      </a:accent2>
      <a:accent3>
        <a:srgbClr val="253652"/>
      </a:accent3>
      <a:accent4>
        <a:srgbClr val="F9BE04"/>
      </a:accent4>
      <a:accent5>
        <a:srgbClr val="E52027"/>
      </a:accent5>
      <a:accent6>
        <a:srgbClr val="ADB6BC"/>
      </a:accent6>
      <a:hlink>
        <a:srgbClr val="647984"/>
      </a:hlink>
      <a:folHlink>
        <a:srgbClr val="3F4E54"/>
      </a:folHlink>
    </a:clrScheme>
    <a:fontScheme name="Frausch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6E6">
            <a:alpha val="80000"/>
          </a:srgbClr>
        </a:solidFill>
        <a:ln>
          <a:noFill/>
        </a:ln>
      </a:spPr>
      <a:bodyPr rtlCol="0" anchor="ctr"/>
      <a:lstStyle>
        <a:defPPr algn="ctr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dirty="0" err="1" smtClean="0">
            <a:solidFill>
              <a:srgbClr val="002A4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9B74C91-0F7D-40C4-864D-64C967CE005D}" vid="{15051D79-E0CB-4606-BA22-8CD5196D206F}"/>
    </a:ext>
  </a:extLst>
</a:theme>
</file>

<file path=ppt/theme/theme2.xml><?xml version="1.0" encoding="utf-8"?>
<a:theme xmlns:a="http://schemas.openxmlformats.org/drawingml/2006/main" name="2_Office">
  <a:themeElements>
    <a:clrScheme name="Frauscher CD2019 - Word, Excel">
      <a:dk1>
        <a:srgbClr val="000000"/>
      </a:dk1>
      <a:lt1>
        <a:sysClr val="window" lastClr="FFFFFF"/>
      </a:lt1>
      <a:dk2>
        <a:srgbClr val="253652"/>
      </a:dk2>
      <a:lt2>
        <a:srgbClr val="DADEE1"/>
      </a:lt2>
      <a:accent1>
        <a:srgbClr val="006D7E"/>
      </a:accent1>
      <a:accent2>
        <a:srgbClr val="3CB7AA"/>
      </a:accent2>
      <a:accent3>
        <a:srgbClr val="253652"/>
      </a:accent3>
      <a:accent4>
        <a:srgbClr val="F9BE04"/>
      </a:accent4>
      <a:accent5>
        <a:srgbClr val="E52027"/>
      </a:accent5>
      <a:accent6>
        <a:srgbClr val="ADB6BC"/>
      </a:accent6>
      <a:hlink>
        <a:srgbClr val="647984"/>
      </a:hlink>
      <a:folHlink>
        <a:srgbClr val="3F4E54"/>
      </a:folHlink>
    </a:clrScheme>
    <a:fontScheme name="Frausch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6E6">
            <a:alpha val="80000"/>
          </a:srgbClr>
        </a:solidFill>
        <a:ln>
          <a:noFill/>
        </a:ln>
      </a:spPr>
      <a:bodyPr rtlCol="0" anchor="ctr"/>
      <a:lstStyle>
        <a:defPPr algn="ctr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dirty="0" err="1" smtClean="0">
            <a:solidFill>
              <a:srgbClr val="002A4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9B74C91-0F7D-40C4-864D-64C967CE005D}" vid="{15051D79-E0CB-4606-BA22-8CD5196D206F}"/>
    </a:ext>
  </a:extLst>
</a:theme>
</file>

<file path=ppt/theme/theme3.xml><?xml version="1.0" encoding="utf-8"?>
<a:theme xmlns:a="http://schemas.openxmlformats.org/drawingml/2006/main" name="Office">
  <a:themeElements>
    <a:clrScheme name="Frauscher CD 2019">
      <a:dk1>
        <a:srgbClr val="000000"/>
      </a:dk1>
      <a:lt1>
        <a:srgbClr val="FFFFFF"/>
      </a:lt1>
      <a:dk2>
        <a:srgbClr val="253652"/>
      </a:dk2>
      <a:lt2>
        <a:srgbClr val="DADEE1"/>
      </a:lt2>
      <a:accent1>
        <a:srgbClr val="006D7E"/>
      </a:accent1>
      <a:accent2>
        <a:srgbClr val="3CB7AA"/>
      </a:accent2>
      <a:accent3>
        <a:srgbClr val="253652"/>
      </a:accent3>
      <a:accent4>
        <a:srgbClr val="F9BE04"/>
      </a:accent4>
      <a:accent5>
        <a:srgbClr val="E52027"/>
      </a:accent5>
      <a:accent6>
        <a:srgbClr val="ADB6BC"/>
      </a:accent6>
      <a:hlink>
        <a:srgbClr val="647984"/>
      </a:hlink>
      <a:folHlink>
        <a:srgbClr val="3F4E54"/>
      </a:folHlink>
    </a:clrScheme>
    <a:fontScheme name="Frausch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dirty="0" err="1" smtClean="0">
            <a:solidFill>
              <a:srgbClr val="002A4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50B5E754-7C12-4401-943B-56A9AEA4124D}" vid="{8C852EA3-965A-4C70-9450-5AFA6B08B67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-11 Master_Frauscher_fin</Template>
  <TotalTime>0</TotalTime>
  <Words>265</Words>
  <Application>Microsoft Office PowerPoint</Application>
  <PresentationFormat>Bildschirmpräsentation (16:9)</PresentationFormat>
  <Paragraphs>82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3" baseType="lpstr">
      <vt:lpstr>Arial</vt:lpstr>
      <vt:lpstr>Arial Black</vt:lpstr>
      <vt:lpstr>Calibri</vt:lpstr>
      <vt:lpstr>Helvetica Neue</vt:lpstr>
      <vt:lpstr>HelveticaNeueLT W1G 55 Roman</vt:lpstr>
      <vt:lpstr>Wingdings</vt:lpstr>
      <vt:lpstr>1_Office</vt:lpstr>
      <vt:lpstr>2_Office</vt:lpstr>
      <vt:lpstr>Office</vt:lpstr>
      <vt:lpstr>think-cell Folie</vt:lpstr>
      <vt:lpstr>Elevator</vt:lpstr>
      <vt:lpstr>Agenda</vt:lpstr>
      <vt:lpstr>Architecture</vt:lpstr>
      <vt:lpstr>Architecture</vt:lpstr>
      <vt:lpstr>Live Demo</vt:lpstr>
      <vt:lpstr>Quality Checks</vt:lpstr>
      <vt:lpstr>Quality Checks</vt:lpstr>
      <vt:lpstr>Quality Checks</vt:lpstr>
      <vt:lpstr>Manual Function Test</vt:lpstr>
      <vt:lpstr>Code Coverage</vt:lpstr>
      <vt:lpstr>Sonar Cloud</vt:lpstr>
      <vt:lpstr>Lessons Learned</vt:lpstr>
      <vt:lpstr>PowerPoint-Präsentation</vt:lpstr>
    </vt:vector>
  </TitlesOfParts>
  <Company>Frauscher Sensortechnik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SiS Review</dc:title>
  <dc:creator>Josef Habetswallner</dc:creator>
  <cp:lastModifiedBy>Goldberger David - s2310567011</cp:lastModifiedBy>
  <cp:revision>1132</cp:revision>
  <cp:lastPrinted>2019-04-18T13:31:55Z</cp:lastPrinted>
  <dcterms:created xsi:type="dcterms:W3CDTF">2020-03-06T06:27:39Z</dcterms:created>
  <dcterms:modified xsi:type="dcterms:W3CDTF">2025-01-02T18:42:35Z</dcterms:modified>
</cp:coreProperties>
</file>